
<file path=[Content_Types].xml><?xml version="1.0" encoding="utf-8"?>
<Types xmlns="http://schemas.openxmlformats.org/package/2006/content-types">
  <Default Extension="fntdata" ContentType="application/x-fontdata"/>
  <Default Extension="jpeg" ContentType="image/jpeg"/>
  <Default Extension="mp3" ContentType="audio/mpeg"/>
  <Default Extension="mp4" ContentType="video/mp4"/>
  <Default Extension="png" ContentType="image/png"/>
  <Default Extension="rels" ContentType="application/vnd.openxmlformats-package.relationships+xml"/>
  <Default Extension="wav" ContentType="audio/x-wav"/>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58" r:id="rId1"/>
  </p:sldMasterIdLst>
  <p:notesMasterIdLst>
    <p:notesMasterId r:id="rId19"/>
  </p:notesMasterIdLst>
  <p:sldIdLst>
    <p:sldId id="331" r:id="rId2"/>
    <p:sldId id="294" r:id="rId3"/>
    <p:sldId id="330" r:id="rId4"/>
    <p:sldId id="284" r:id="rId5"/>
    <p:sldId id="315" r:id="rId6"/>
    <p:sldId id="332" r:id="rId7"/>
    <p:sldId id="333" r:id="rId8"/>
    <p:sldId id="334" r:id="rId9"/>
    <p:sldId id="335" r:id="rId10"/>
    <p:sldId id="336" r:id="rId11"/>
    <p:sldId id="337" r:id="rId12"/>
    <p:sldId id="338" r:id="rId13"/>
    <p:sldId id="339" r:id="rId14"/>
    <p:sldId id="341" r:id="rId15"/>
    <p:sldId id="342" r:id="rId16"/>
    <p:sldId id="343" r:id="rId17"/>
    <p:sldId id="344" r:id="rId18"/>
  </p:sldIdLst>
  <p:sldSz cx="12192000" cy="6858000"/>
  <p:notesSz cx="6858000" cy="9144000"/>
  <p:embeddedFontLst>
    <p:embeddedFont>
      <p:font typeface="#9Slide02 Noi dung dai" panose="020B0604020202020204" charset="0"/>
      <p:regular r:id="rId20"/>
    </p:embeddedFont>
    <p:embeddedFont>
      <p:font typeface="#9Slide07 Crocante" panose="020B0604020202020204" charset="0"/>
      <p:regular r:id="rId21"/>
    </p:embeddedFont>
    <p:embeddedFont>
      <p:font typeface="Cambria" panose="02040503050406030204" pitchFamily="18"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DE00"/>
    <a:srgbClr val="667C88"/>
    <a:srgbClr val="FF6600"/>
    <a:srgbClr val="00FF00"/>
    <a:srgbClr val="218EEE"/>
    <a:srgbClr val="00CCFF"/>
    <a:srgbClr val="FC6E51"/>
    <a:srgbClr val="0DADF0"/>
    <a:srgbClr val="256EED"/>
    <a:srgbClr val="FFEE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923" autoAdjust="0"/>
  </p:normalViewPr>
  <p:slideViewPr>
    <p:cSldViewPr showGuides="1">
      <p:cViewPr varScale="1">
        <p:scale>
          <a:sx n="62" d="100"/>
          <a:sy n="62" d="100"/>
        </p:scale>
        <p:origin x="832" y="4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D433C5-0048-4E6C-8A11-4763AB45233E}" type="datetimeFigureOut">
              <a:rPr lang="en-US" smtClean="0"/>
              <a:t>5/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55F277-4109-496D-BFA3-D6C6196B5785}" type="slidenum">
              <a:rPr lang="en-US" smtClean="0"/>
              <a:t>‹#›</a:t>
            </a:fld>
            <a:endParaRPr lang="en-US"/>
          </a:p>
        </p:txBody>
      </p:sp>
    </p:spTree>
    <p:extLst>
      <p:ext uri="{BB962C8B-B14F-4D97-AF65-F5344CB8AC3E}">
        <p14:creationId xmlns:p14="http://schemas.microsoft.com/office/powerpoint/2010/main" val="1914164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7.png"/><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95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76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8B8862C-D5F2-32C6-D504-D452A52C88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BF443EA-AE15-C292-64E5-74852FD67522}"/>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8600" y="5021836"/>
            <a:ext cx="13094191" cy="2791971"/>
          </a:xfrm>
          <a:prstGeom prst="rect">
            <a:avLst/>
          </a:prstGeom>
        </p:spPr>
      </p:pic>
      <p:pic>
        <p:nvPicPr>
          <p:cNvPr id="9" name="Picture 8">
            <a:extLst>
              <a:ext uri="{FF2B5EF4-FFF2-40B4-BE49-F238E27FC236}">
                <a16:creationId xmlns:a16="http://schemas.microsoft.com/office/drawing/2014/main" id="{11B22DD3-C77D-2634-718C-ABBE2CC17FB2}"/>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l="29411" t="77633" r="60033" b="-110"/>
          <a:stretch/>
        </p:blipFill>
        <p:spPr>
          <a:xfrm>
            <a:off x="49943" y="-228600"/>
            <a:ext cx="1409702" cy="1174750"/>
          </a:xfrm>
          <a:prstGeom prst="rect">
            <a:avLst/>
          </a:prstGeom>
        </p:spPr>
      </p:pic>
      <p:pic>
        <p:nvPicPr>
          <p:cNvPr id="10" name="Picture 9">
            <a:extLst>
              <a:ext uri="{FF2B5EF4-FFF2-40B4-BE49-F238E27FC236}">
                <a16:creationId xmlns:a16="http://schemas.microsoft.com/office/drawing/2014/main" id="{ACAD5F69-5474-C1BC-6322-E4FBAE967949}"/>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l="52780" t="81288" r="36664" b="-3765"/>
          <a:stretch/>
        </p:blipFill>
        <p:spPr>
          <a:xfrm flipH="1">
            <a:off x="10818337" y="47968"/>
            <a:ext cx="1409702" cy="1174750"/>
          </a:xfrm>
          <a:prstGeom prst="rect">
            <a:avLst/>
          </a:prstGeom>
        </p:spPr>
      </p:pic>
      <p:sp>
        <p:nvSpPr>
          <p:cNvPr id="11" name="Rectangle: Rounded Corners 10">
            <a:extLst>
              <a:ext uri="{FF2B5EF4-FFF2-40B4-BE49-F238E27FC236}">
                <a16:creationId xmlns:a16="http://schemas.microsoft.com/office/drawing/2014/main" id="{96C63A52-2627-92F3-5A30-235217CDE614}"/>
              </a:ext>
            </a:extLst>
          </p:cNvPr>
          <p:cNvSpPr/>
          <p:nvPr userDrawn="1"/>
        </p:nvSpPr>
        <p:spPr>
          <a:xfrm>
            <a:off x="228600" y="228600"/>
            <a:ext cx="11811000" cy="6539864"/>
          </a:xfrm>
          <a:custGeom>
            <a:avLst/>
            <a:gdLst>
              <a:gd name="connsiteX0" fmla="*/ 0 w 11811000"/>
              <a:gd name="connsiteY0" fmla="*/ 276309 h 6539864"/>
              <a:gd name="connsiteX1" fmla="*/ 276309 w 11811000"/>
              <a:gd name="connsiteY1" fmla="*/ 0 h 6539864"/>
              <a:gd name="connsiteX2" fmla="*/ 713399 w 11811000"/>
              <a:gd name="connsiteY2" fmla="*/ 0 h 6539864"/>
              <a:gd name="connsiteX3" fmla="*/ 1037905 w 11811000"/>
              <a:gd name="connsiteY3" fmla="*/ 0 h 6539864"/>
              <a:gd name="connsiteX4" fmla="*/ 1812747 w 11811000"/>
              <a:gd name="connsiteY4" fmla="*/ 0 h 6539864"/>
              <a:gd name="connsiteX5" fmla="*/ 2137253 w 11811000"/>
              <a:gd name="connsiteY5" fmla="*/ 0 h 6539864"/>
              <a:gd name="connsiteX6" fmla="*/ 2574343 w 11811000"/>
              <a:gd name="connsiteY6" fmla="*/ 0 h 6539864"/>
              <a:gd name="connsiteX7" fmla="*/ 3124017 w 11811000"/>
              <a:gd name="connsiteY7" fmla="*/ 0 h 6539864"/>
              <a:gd name="connsiteX8" fmla="*/ 3561108 w 11811000"/>
              <a:gd name="connsiteY8" fmla="*/ 0 h 6539864"/>
              <a:gd name="connsiteX9" fmla="*/ 4223365 w 11811000"/>
              <a:gd name="connsiteY9" fmla="*/ 0 h 6539864"/>
              <a:gd name="connsiteX10" fmla="*/ 4660455 w 11811000"/>
              <a:gd name="connsiteY10" fmla="*/ 0 h 6539864"/>
              <a:gd name="connsiteX11" fmla="*/ 4984962 w 11811000"/>
              <a:gd name="connsiteY11" fmla="*/ 0 h 6539864"/>
              <a:gd name="connsiteX12" fmla="*/ 5647219 w 11811000"/>
              <a:gd name="connsiteY12" fmla="*/ 0 h 6539864"/>
              <a:gd name="connsiteX13" fmla="*/ 6309477 w 11811000"/>
              <a:gd name="connsiteY13" fmla="*/ 0 h 6539864"/>
              <a:gd name="connsiteX14" fmla="*/ 6971735 w 11811000"/>
              <a:gd name="connsiteY14" fmla="*/ 0 h 6539864"/>
              <a:gd name="connsiteX15" fmla="*/ 7521409 w 11811000"/>
              <a:gd name="connsiteY15" fmla="*/ 0 h 6539864"/>
              <a:gd name="connsiteX16" fmla="*/ 8408834 w 11811000"/>
              <a:gd name="connsiteY16" fmla="*/ 0 h 6539864"/>
              <a:gd name="connsiteX17" fmla="*/ 8958508 w 11811000"/>
              <a:gd name="connsiteY17" fmla="*/ 0 h 6539864"/>
              <a:gd name="connsiteX18" fmla="*/ 9845934 w 11811000"/>
              <a:gd name="connsiteY18" fmla="*/ 0 h 6539864"/>
              <a:gd name="connsiteX19" fmla="*/ 10508191 w 11811000"/>
              <a:gd name="connsiteY19" fmla="*/ 0 h 6539864"/>
              <a:gd name="connsiteX20" fmla="*/ 11534691 w 11811000"/>
              <a:gd name="connsiteY20" fmla="*/ 0 h 6539864"/>
              <a:gd name="connsiteX21" fmla="*/ 11811000 w 11811000"/>
              <a:gd name="connsiteY21" fmla="*/ 276309 h 6539864"/>
              <a:gd name="connsiteX22" fmla="*/ 11811000 w 11811000"/>
              <a:gd name="connsiteY22" fmla="*/ 1001431 h 6539864"/>
              <a:gd name="connsiteX23" fmla="*/ 11811000 w 11811000"/>
              <a:gd name="connsiteY23" fmla="*/ 1546936 h 6539864"/>
              <a:gd name="connsiteX24" fmla="*/ 11811000 w 11811000"/>
              <a:gd name="connsiteY24" fmla="*/ 2212185 h 6539864"/>
              <a:gd name="connsiteX25" fmla="*/ 11811000 w 11811000"/>
              <a:gd name="connsiteY25" fmla="*/ 2997180 h 6539864"/>
              <a:gd name="connsiteX26" fmla="*/ 11811000 w 11811000"/>
              <a:gd name="connsiteY26" fmla="*/ 3482812 h 6539864"/>
              <a:gd name="connsiteX27" fmla="*/ 11811000 w 11811000"/>
              <a:gd name="connsiteY27" fmla="*/ 4028316 h 6539864"/>
              <a:gd name="connsiteX28" fmla="*/ 11811000 w 11811000"/>
              <a:gd name="connsiteY28" fmla="*/ 4693566 h 6539864"/>
              <a:gd name="connsiteX29" fmla="*/ 11811000 w 11811000"/>
              <a:gd name="connsiteY29" fmla="*/ 5179198 h 6539864"/>
              <a:gd name="connsiteX30" fmla="*/ 11811000 w 11811000"/>
              <a:gd name="connsiteY30" fmla="*/ 6263555 h 6539864"/>
              <a:gd name="connsiteX31" fmla="*/ 11534691 w 11811000"/>
              <a:gd name="connsiteY31" fmla="*/ 6539864 h 6539864"/>
              <a:gd name="connsiteX32" fmla="*/ 10647266 w 11811000"/>
              <a:gd name="connsiteY32" fmla="*/ 6539864 h 6539864"/>
              <a:gd name="connsiteX33" fmla="*/ 9985008 w 11811000"/>
              <a:gd name="connsiteY33" fmla="*/ 6539864 h 6539864"/>
              <a:gd name="connsiteX34" fmla="*/ 9435334 w 11811000"/>
              <a:gd name="connsiteY34" fmla="*/ 6539864 h 6539864"/>
              <a:gd name="connsiteX35" fmla="*/ 8998244 w 11811000"/>
              <a:gd name="connsiteY35" fmla="*/ 6539864 h 6539864"/>
              <a:gd name="connsiteX36" fmla="*/ 8448570 w 11811000"/>
              <a:gd name="connsiteY36" fmla="*/ 6539864 h 6539864"/>
              <a:gd name="connsiteX37" fmla="*/ 7673728 w 11811000"/>
              <a:gd name="connsiteY37" fmla="*/ 6539864 h 6539864"/>
              <a:gd name="connsiteX38" fmla="*/ 6898887 w 11811000"/>
              <a:gd name="connsiteY38" fmla="*/ 6539864 h 6539864"/>
              <a:gd name="connsiteX39" fmla="*/ 6574380 w 11811000"/>
              <a:gd name="connsiteY39" fmla="*/ 6539864 h 6539864"/>
              <a:gd name="connsiteX40" fmla="*/ 6024706 w 11811000"/>
              <a:gd name="connsiteY40" fmla="*/ 6539864 h 6539864"/>
              <a:gd name="connsiteX41" fmla="*/ 5475032 w 11811000"/>
              <a:gd name="connsiteY41" fmla="*/ 6539864 h 6539864"/>
              <a:gd name="connsiteX42" fmla="*/ 4812775 w 11811000"/>
              <a:gd name="connsiteY42" fmla="*/ 6539864 h 6539864"/>
              <a:gd name="connsiteX43" fmla="*/ 4263101 w 11811000"/>
              <a:gd name="connsiteY43" fmla="*/ 6539864 h 6539864"/>
              <a:gd name="connsiteX44" fmla="*/ 3375675 w 11811000"/>
              <a:gd name="connsiteY44" fmla="*/ 6539864 h 6539864"/>
              <a:gd name="connsiteX45" fmla="*/ 3051169 w 11811000"/>
              <a:gd name="connsiteY45" fmla="*/ 6539864 h 6539864"/>
              <a:gd name="connsiteX46" fmla="*/ 2388911 w 11811000"/>
              <a:gd name="connsiteY46" fmla="*/ 6539864 h 6539864"/>
              <a:gd name="connsiteX47" fmla="*/ 1614070 w 11811000"/>
              <a:gd name="connsiteY47" fmla="*/ 6539864 h 6539864"/>
              <a:gd name="connsiteX48" fmla="*/ 1064396 w 11811000"/>
              <a:gd name="connsiteY48" fmla="*/ 6539864 h 6539864"/>
              <a:gd name="connsiteX49" fmla="*/ 276309 w 11811000"/>
              <a:gd name="connsiteY49" fmla="*/ 6539864 h 6539864"/>
              <a:gd name="connsiteX50" fmla="*/ 0 w 11811000"/>
              <a:gd name="connsiteY50" fmla="*/ 6263555 h 6539864"/>
              <a:gd name="connsiteX51" fmla="*/ 0 w 11811000"/>
              <a:gd name="connsiteY51" fmla="*/ 5718050 h 6539864"/>
              <a:gd name="connsiteX52" fmla="*/ 0 w 11811000"/>
              <a:gd name="connsiteY52" fmla="*/ 4933056 h 6539864"/>
              <a:gd name="connsiteX53" fmla="*/ 0 w 11811000"/>
              <a:gd name="connsiteY53" fmla="*/ 4267806 h 6539864"/>
              <a:gd name="connsiteX54" fmla="*/ 0 w 11811000"/>
              <a:gd name="connsiteY54" fmla="*/ 3722302 h 6539864"/>
              <a:gd name="connsiteX55" fmla="*/ 0 w 11811000"/>
              <a:gd name="connsiteY55" fmla="*/ 3057052 h 6539864"/>
              <a:gd name="connsiteX56" fmla="*/ 0 w 11811000"/>
              <a:gd name="connsiteY56" fmla="*/ 2272058 h 6539864"/>
              <a:gd name="connsiteX57" fmla="*/ 0 w 11811000"/>
              <a:gd name="connsiteY57" fmla="*/ 1666681 h 6539864"/>
              <a:gd name="connsiteX58" fmla="*/ 0 w 11811000"/>
              <a:gd name="connsiteY58" fmla="*/ 1061303 h 6539864"/>
              <a:gd name="connsiteX59" fmla="*/ 0 w 11811000"/>
              <a:gd name="connsiteY59" fmla="*/ 276309 h 653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811000" h="6539864" fill="none" extrusionOk="0">
                <a:moveTo>
                  <a:pt x="0" y="276309"/>
                </a:moveTo>
                <a:cubicBezTo>
                  <a:pt x="7503" y="117353"/>
                  <a:pt x="120173" y="876"/>
                  <a:pt x="276309" y="0"/>
                </a:cubicBezTo>
                <a:cubicBezTo>
                  <a:pt x="390753" y="-13998"/>
                  <a:pt x="519303" y="7231"/>
                  <a:pt x="713399" y="0"/>
                </a:cubicBezTo>
                <a:cubicBezTo>
                  <a:pt x="907495" y="-7231"/>
                  <a:pt x="921623" y="-3982"/>
                  <a:pt x="1037905" y="0"/>
                </a:cubicBezTo>
                <a:cubicBezTo>
                  <a:pt x="1154187" y="3982"/>
                  <a:pt x="1628628" y="21970"/>
                  <a:pt x="1812747" y="0"/>
                </a:cubicBezTo>
                <a:cubicBezTo>
                  <a:pt x="1996866" y="-21970"/>
                  <a:pt x="2070800" y="10455"/>
                  <a:pt x="2137253" y="0"/>
                </a:cubicBezTo>
                <a:cubicBezTo>
                  <a:pt x="2203706" y="-10455"/>
                  <a:pt x="2459510" y="-21376"/>
                  <a:pt x="2574343" y="0"/>
                </a:cubicBezTo>
                <a:cubicBezTo>
                  <a:pt x="2689176" y="21376"/>
                  <a:pt x="2851821" y="-17883"/>
                  <a:pt x="3124017" y="0"/>
                </a:cubicBezTo>
                <a:cubicBezTo>
                  <a:pt x="3396213" y="17883"/>
                  <a:pt x="3378501" y="-9716"/>
                  <a:pt x="3561108" y="0"/>
                </a:cubicBezTo>
                <a:cubicBezTo>
                  <a:pt x="3743715" y="9716"/>
                  <a:pt x="3957040" y="-22614"/>
                  <a:pt x="4223365" y="0"/>
                </a:cubicBezTo>
                <a:cubicBezTo>
                  <a:pt x="4489690" y="22614"/>
                  <a:pt x="4482566" y="4443"/>
                  <a:pt x="4660455" y="0"/>
                </a:cubicBezTo>
                <a:cubicBezTo>
                  <a:pt x="4838344" y="-4443"/>
                  <a:pt x="4827198" y="13475"/>
                  <a:pt x="4984962" y="0"/>
                </a:cubicBezTo>
                <a:cubicBezTo>
                  <a:pt x="5142726" y="-13475"/>
                  <a:pt x="5408741" y="-32026"/>
                  <a:pt x="5647219" y="0"/>
                </a:cubicBezTo>
                <a:cubicBezTo>
                  <a:pt x="5885697" y="32026"/>
                  <a:pt x="6061324" y="16924"/>
                  <a:pt x="6309477" y="0"/>
                </a:cubicBezTo>
                <a:cubicBezTo>
                  <a:pt x="6557630" y="-16924"/>
                  <a:pt x="6731921" y="21199"/>
                  <a:pt x="6971735" y="0"/>
                </a:cubicBezTo>
                <a:cubicBezTo>
                  <a:pt x="7211549" y="-21199"/>
                  <a:pt x="7410709" y="-22981"/>
                  <a:pt x="7521409" y="0"/>
                </a:cubicBezTo>
                <a:cubicBezTo>
                  <a:pt x="7632109" y="22981"/>
                  <a:pt x="8183644" y="-36572"/>
                  <a:pt x="8408834" y="0"/>
                </a:cubicBezTo>
                <a:cubicBezTo>
                  <a:pt x="8634024" y="36572"/>
                  <a:pt x="8810731" y="464"/>
                  <a:pt x="8958508" y="0"/>
                </a:cubicBezTo>
                <a:cubicBezTo>
                  <a:pt x="9106285" y="-464"/>
                  <a:pt x="9554448" y="-657"/>
                  <a:pt x="9845934" y="0"/>
                </a:cubicBezTo>
                <a:cubicBezTo>
                  <a:pt x="10137420" y="657"/>
                  <a:pt x="10294741" y="3156"/>
                  <a:pt x="10508191" y="0"/>
                </a:cubicBezTo>
                <a:cubicBezTo>
                  <a:pt x="10721641" y="-3156"/>
                  <a:pt x="11169757" y="-23281"/>
                  <a:pt x="11534691" y="0"/>
                </a:cubicBezTo>
                <a:cubicBezTo>
                  <a:pt x="11686405" y="30281"/>
                  <a:pt x="11789483" y="102266"/>
                  <a:pt x="11811000" y="276309"/>
                </a:cubicBezTo>
                <a:cubicBezTo>
                  <a:pt x="11783989" y="629313"/>
                  <a:pt x="11803715" y="849248"/>
                  <a:pt x="11811000" y="1001431"/>
                </a:cubicBezTo>
                <a:cubicBezTo>
                  <a:pt x="11818285" y="1153614"/>
                  <a:pt x="11786666" y="1343496"/>
                  <a:pt x="11811000" y="1546936"/>
                </a:cubicBezTo>
                <a:cubicBezTo>
                  <a:pt x="11835334" y="1750377"/>
                  <a:pt x="11830199" y="1918680"/>
                  <a:pt x="11811000" y="2212185"/>
                </a:cubicBezTo>
                <a:cubicBezTo>
                  <a:pt x="11791801" y="2505690"/>
                  <a:pt x="11778524" y="2743617"/>
                  <a:pt x="11811000" y="2997180"/>
                </a:cubicBezTo>
                <a:cubicBezTo>
                  <a:pt x="11843476" y="3250743"/>
                  <a:pt x="11802263" y="3243832"/>
                  <a:pt x="11811000" y="3482812"/>
                </a:cubicBezTo>
                <a:cubicBezTo>
                  <a:pt x="11819737" y="3721792"/>
                  <a:pt x="11801145" y="3807336"/>
                  <a:pt x="11811000" y="4028316"/>
                </a:cubicBezTo>
                <a:cubicBezTo>
                  <a:pt x="11820855" y="4249296"/>
                  <a:pt x="11824002" y="4522096"/>
                  <a:pt x="11811000" y="4693566"/>
                </a:cubicBezTo>
                <a:cubicBezTo>
                  <a:pt x="11797999" y="4865036"/>
                  <a:pt x="11787768" y="4979749"/>
                  <a:pt x="11811000" y="5179198"/>
                </a:cubicBezTo>
                <a:cubicBezTo>
                  <a:pt x="11834232" y="5378647"/>
                  <a:pt x="11824820" y="5775744"/>
                  <a:pt x="11811000" y="6263555"/>
                </a:cubicBezTo>
                <a:cubicBezTo>
                  <a:pt x="11820168" y="6432874"/>
                  <a:pt x="11693865" y="6527210"/>
                  <a:pt x="11534691" y="6539864"/>
                </a:cubicBezTo>
                <a:cubicBezTo>
                  <a:pt x="11328979" y="6573097"/>
                  <a:pt x="10851794" y="6576898"/>
                  <a:pt x="10647266" y="6539864"/>
                </a:cubicBezTo>
                <a:cubicBezTo>
                  <a:pt x="10442738" y="6502830"/>
                  <a:pt x="10188245" y="6536482"/>
                  <a:pt x="9985008" y="6539864"/>
                </a:cubicBezTo>
                <a:cubicBezTo>
                  <a:pt x="9781771" y="6543246"/>
                  <a:pt x="9655399" y="6535718"/>
                  <a:pt x="9435334" y="6539864"/>
                </a:cubicBezTo>
                <a:cubicBezTo>
                  <a:pt x="9215269" y="6544010"/>
                  <a:pt x="9174278" y="6521901"/>
                  <a:pt x="8998244" y="6539864"/>
                </a:cubicBezTo>
                <a:cubicBezTo>
                  <a:pt x="8822210" y="6557828"/>
                  <a:pt x="8695160" y="6523053"/>
                  <a:pt x="8448570" y="6539864"/>
                </a:cubicBezTo>
                <a:cubicBezTo>
                  <a:pt x="8201980" y="6556675"/>
                  <a:pt x="8057062" y="6549860"/>
                  <a:pt x="7673728" y="6539864"/>
                </a:cubicBezTo>
                <a:cubicBezTo>
                  <a:pt x="7290394" y="6529868"/>
                  <a:pt x="7073721" y="6518109"/>
                  <a:pt x="6898887" y="6539864"/>
                </a:cubicBezTo>
                <a:cubicBezTo>
                  <a:pt x="6724053" y="6561619"/>
                  <a:pt x="6673636" y="6542743"/>
                  <a:pt x="6574380" y="6539864"/>
                </a:cubicBezTo>
                <a:cubicBezTo>
                  <a:pt x="6475124" y="6536985"/>
                  <a:pt x="6236107" y="6527822"/>
                  <a:pt x="6024706" y="6539864"/>
                </a:cubicBezTo>
                <a:cubicBezTo>
                  <a:pt x="5813305" y="6551906"/>
                  <a:pt x="5730978" y="6561993"/>
                  <a:pt x="5475032" y="6539864"/>
                </a:cubicBezTo>
                <a:cubicBezTo>
                  <a:pt x="5219086" y="6517735"/>
                  <a:pt x="5099294" y="6527365"/>
                  <a:pt x="4812775" y="6539864"/>
                </a:cubicBezTo>
                <a:cubicBezTo>
                  <a:pt x="4526256" y="6552363"/>
                  <a:pt x="4495982" y="6543126"/>
                  <a:pt x="4263101" y="6539864"/>
                </a:cubicBezTo>
                <a:cubicBezTo>
                  <a:pt x="4030220" y="6536602"/>
                  <a:pt x="3784956" y="6574385"/>
                  <a:pt x="3375675" y="6539864"/>
                </a:cubicBezTo>
                <a:cubicBezTo>
                  <a:pt x="2966394" y="6505343"/>
                  <a:pt x="3135924" y="6527838"/>
                  <a:pt x="3051169" y="6539864"/>
                </a:cubicBezTo>
                <a:cubicBezTo>
                  <a:pt x="2966414" y="6551890"/>
                  <a:pt x="2690961" y="6524046"/>
                  <a:pt x="2388911" y="6539864"/>
                </a:cubicBezTo>
                <a:cubicBezTo>
                  <a:pt x="2086861" y="6555682"/>
                  <a:pt x="1863389" y="6540751"/>
                  <a:pt x="1614070" y="6539864"/>
                </a:cubicBezTo>
                <a:cubicBezTo>
                  <a:pt x="1364751" y="6538977"/>
                  <a:pt x="1291765" y="6521886"/>
                  <a:pt x="1064396" y="6539864"/>
                </a:cubicBezTo>
                <a:cubicBezTo>
                  <a:pt x="837027" y="6557842"/>
                  <a:pt x="547291" y="6542932"/>
                  <a:pt x="276309" y="6539864"/>
                </a:cubicBezTo>
                <a:cubicBezTo>
                  <a:pt x="130934" y="6520487"/>
                  <a:pt x="-22581" y="6398236"/>
                  <a:pt x="0" y="6263555"/>
                </a:cubicBezTo>
                <a:cubicBezTo>
                  <a:pt x="4468" y="6084194"/>
                  <a:pt x="-2016" y="5887631"/>
                  <a:pt x="0" y="5718050"/>
                </a:cubicBezTo>
                <a:cubicBezTo>
                  <a:pt x="2016" y="5548469"/>
                  <a:pt x="17236" y="5177974"/>
                  <a:pt x="0" y="4933056"/>
                </a:cubicBezTo>
                <a:cubicBezTo>
                  <a:pt x="-17236" y="4688138"/>
                  <a:pt x="30289" y="4592748"/>
                  <a:pt x="0" y="4267806"/>
                </a:cubicBezTo>
                <a:cubicBezTo>
                  <a:pt x="-30289" y="3942864"/>
                  <a:pt x="-14872" y="3895665"/>
                  <a:pt x="0" y="3722302"/>
                </a:cubicBezTo>
                <a:cubicBezTo>
                  <a:pt x="14872" y="3548939"/>
                  <a:pt x="-12413" y="3380923"/>
                  <a:pt x="0" y="3057052"/>
                </a:cubicBezTo>
                <a:cubicBezTo>
                  <a:pt x="12413" y="2733181"/>
                  <a:pt x="25179" y="2623577"/>
                  <a:pt x="0" y="2272058"/>
                </a:cubicBezTo>
                <a:cubicBezTo>
                  <a:pt x="-25179" y="1920539"/>
                  <a:pt x="5940" y="1924738"/>
                  <a:pt x="0" y="1666681"/>
                </a:cubicBezTo>
                <a:cubicBezTo>
                  <a:pt x="-5940" y="1408624"/>
                  <a:pt x="21070" y="1224865"/>
                  <a:pt x="0" y="1061303"/>
                </a:cubicBezTo>
                <a:cubicBezTo>
                  <a:pt x="-21070" y="897741"/>
                  <a:pt x="38394" y="533993"/>
                  <a:pt x="0" y="276309"/>
                </a:cubicBezTo>
                <a:close/>
              </a:path>
              <a:path w="11811000" h="6539864" stroke="0" extrusionOk="0">
                <a:moveTo>
                  <a:pt x="0" y="276309"/>
                </a:moveTo>
                <a:cubicBezTo>
                  <a:pt x="20890" y="133639"/>
                  <a:pt x="93626" y="-23293"/>
                  <a:pt x="276309" y="0"/>
                </a:cubicBezTo>
                <a:cubicBezTo>
                  <a:pt x="495014" y="-6512"/>
                  <a:pt x="781700" y="14060"/>
                  <a:pt x="938567" y="0"/>
                </a:cubicBezTo>
                <a:cubicBezTo>
                  <a:pt x="1095434" y="-14060"/>
                  <a:pt x="1317075" y="-3727"/>
                  <a:pt x="1488241" y="0"/>
                </a:cubicBezTo>
                <a:cubicBezTo>
                  <a:pt x="1659407" y="3727"/>
                  <a:pt x="1740036" y="-9857"/>
                  <a:pt x="1812747" y="0"/>
                </a:cubicBezTo>
                <a:cubicBezTo>
                  <a:pt x="1885458" y="9857"/>
                  <a:pt x="2298351" y="-29244"/>
                  <a:pt x="2587589" y="0"/>
                </a:cubicBezTo>
                <a:cubicBezTo>
                  <a:pt x="2876827" y="29244"/>
                  <a:pt x="3156670" y="38040"/>
                  <a:pt x="3362430" y="0"/>
                </a:cubicBezTo>
                <a:cubicBezTo>
                  <a:pt x="3568190" y="-38040"/>
                  <a:pt x="3537636" y="-3311"/>
                  <a:pt x="3686936" y="0"/>
                </a:cubicBezTo>
                <a:cubicBezTo>
                  <a:pt x="3836236" y="3311"/>
                  <a:pt x="4174849" y="-33726"/>
                  <a:pt x="4574362" y="0"/>
                </a:cubicBezTo>
                <a:cubicBezTo>
                  <a:pt x="4973875" y="33726"/>
                  <a:pt x="4799209" y="-8541"/>
                  <a:pt x="4898868" y="0"/>
                </a:cubicBezTo>
                <a:cubicBezTo>
                  <a:pt x="4998527" y="8541"/>
                  <a:pt x="5398846" y="16779"/>
                  <a:pt x="5561126" y="0"/>
                </a:cubicBezTo>
                <a:cubicBezTo>
                  <a:pt x="5723406" y="-16779"/>
                  <a:pt x="5908484" y="20871"/>
                  <a:pt x="5998216" y="0"/>
                </a:cubicBezTo>
                <a:cubicBezTo>
                  <a:pt x="6087948" y="-20871"/>
                  <a:pt x="6401464" y="-28369"/>
                  <a:pt x="6773058" y="0"/>
                </a:cubicBezTo>
                <a:cubicBezTo>
                  <a:pt x="7144652" y="28369"/>
                  <a:pt x="7025774" y="9082"/>
                  <a:pt x="7210148" y="0"/>
                </a:cubicBezTo>
                <a:cubicBezTo>
                  <a:pt x="7394522" y="-9082"/>
                  <a:pt x="7438945" y="-16116"/>
                  <a:pt x="7534654" y="0"/>
                </a:cubicBezTo>
                <a:cubicBezTo>
                  <a:pt x="7630363" y="16116"/>
                  <a:pt x="7995229" y="15477"/>
                  <a:pt x="8422080" y="0"/>
                </a:cubicBezTo>
                <a:cubicBezTo>
                  <a:pt x="8848931" y="-15477"/>
                  <a:pt x="8934132" y="37097"/>
                  <a:pt x="9309505" y="0"/>
                </a:cubicBezTo>
                <a:cubicBezTo>
                  <a:pt x="9684879" y="-37097"/>
                  <a:pt x="9898525" y="23021"/>
                  <a:pt x="10084346" y="0"/>
                </a:cubicBezTo>
                <a:cubicBezTo>
                  <a:pt x="10270167" y="-23021"/>
                  <a:pt x="10295875" y="-10612"/>
                  <a:pt x="10408853" y="0"/>
                </a:cubicBezTo>
                <a:cubicBezTo>
                  <a:pt x="10521831" y="10612"/>
                  <a:pt x="11060954" y="2622"/>
                  <a:pt x="11534691" y="0"/>
                </a:cubicBezTo>
                <a:cubicBezTo>
                  <a:pt x="11669686" y="-5469"/>
                  <a:pt x="11776528" y="132029"/>
                  <a:pt x="11811000" y="276309"/>
                </a:cubicBezTo>
                <a:cubicBezTo>
                  <a:pt x="11796287" y="442217"/>
                  <a:pt x="11822438" y="627172"/>
                  <a:pt x="11811000" y="881686"/>
                </a:cubicBezTo>
                <a:cubicBezTo>
                  <a:pt x="11799562" y="1136200"/>
                  <a:pt x="11835797" y="1259062"/>
                  <a:pt x="11811000" y="1606808"/>
                </a:cubicBezTo>
                <a:cubicBezTo>
                  <a:pt x="11786203" y="1954554"/>
                  <a:pt x="11826705" y="1905102"/>
                  <a:pt x="11811000" y="2092440"/>
                </a:cubicBezTo>
                <a:cubicBezTo>
                  <a:pt x="11795295" y="2279778"/>
                  <a:pt x="11819552" y="2521674"/>
                  <a:pt x="11811000" y="2637945"/>
                </a:cubicBezTo>
                <a:cubicBezTo>
                  <a:pt x="11802448" y="2754217"/>
                  <a:pt x="11808331" y="3036282"/>
                  <a:pt x="11811000" y="3183450"/>
                </a:cubicBezTo>
                <a:cubicBezTo>
                  <a:pt x="11813669" y="3330618"/>
                  <a:pt x="11778432" y="3640433"/>
                  <a:pt x="11811000" y="3908572"/>
                </a:cubicBezTo>
                <a:cubicBezTo>
                  <a:pt x="11843568" y="4176711"/>
                  <a:pt x="11823783" y="4494357"/>
                  <a:pt x="11811000" y="4693566"/>
                </a:cubicBezTo>
                <a:cubicBezTo>
                  <a:pt x="11798217" y="4892775"/>
                  <a:pt x="11823835" y="4947328"/>
                  <a:pt x="11811000" y="5179198"/>
                </a:cubicBezTo>
                <a:cubicBezTo>
                  <a:pt x="11798165" y="5411068"/>
                  <a:pt x="11813056" y="6014585"/>
                  <a:pt x="11811000" y="6263555"/>
                </a:cubicBezTo>
                <a:cubicBezTo>
                  <a:pt x="11786682" y="6409302"/>
                  <a:pt x="11669488" y="6539305"/>
                  <a:pt x="11534691" y="6539864"/>
                </a:cubicBezTo>
                <a:cubicBezTo>
                  <a:pt x="11241971" y="6564579"/>
                  <a:pt x="11001665" y="6543078"/>
                  <a:pt x="10759849" y="6539864"/>
                </a:cubicBezTo>
                <a:cubicBezTo>
                  <a:pt x="10518033" y="6536650"/>
                  <a:pt x="10559413" y="6543082"/>
                  <a:pt x="10435343" y="6539864"/>
                </a:cubicBezTo>
                <a:cubicBezTo>
                  <a:pt x="10311273" y="6536646"/>
                  <a:pt x="9934938" y="6519704"/>
                  <a:pt x="9773085" y="6539864"/>
                </a:cubicBezTo>
                <a:cubicBezTo>
                  <a:pt x="9611232" y="6560024"/>
                  <a:pt x="9192404" y="6500085"/>
                  <a:pt x="8885660" y="6539864"/>
                </a:cubicBezTo>
                <a:cubicBezTo>
                  <a:pt x="8578917" y="6579643"/>
                  <a:pt x="8394840" y="6512723"/>
                  <a:pt x="7998235" y="6539864"/>
                </a:cubicBezTo>
                <a:cubicBezTo>
                  <a:pt x="7601631" y="6567005"/>
                  <a:pt x="7508469" y="6516653"/>
                  <a:pt x="7110809" y="6539864"/>
                </a:cubicBezTo>
                <a:cubicBezTo>
                  <a:pt x="6713149" y="6563075"/>
                  <a:pt x="6641706" y="6525084"/>
                  <a:pt x="6223384" y="6539864"/>
                </a:cubicBezTo>
                <a:cubicBezTo>
                  <a:pt x="5805062" y="6554644"/>
                  <a:pt x="5941608" y="6557619"/>
                  <a:pt x="5786294" y="6539864"/>
                </a:cubicBezTo>
                <a:cubicBezTo>
                  <a:pt x="5630980" y="6522110"/>
                  <a:pt x="5448053" y="6519195"/>
                  <a:pt x="5124036" y="6539864"/>
                </a:cubicBezTo>
                <a:cubicBezTo>
                  <a:pt x="4800019" y="6560533"/>
                  <a:pt x="4946688" y="6554373"/>
                  <a:pt x="4799530" y="6539864"/>
                </a:cubicBezTo>
                <a:cubicBezTo>
                  <a:pt x="4652372" y="6525355"/>
                  <a:pt x="4467671" y="6562976"/>
                  <a:pt x="4137272" y="6539864"/>
                </a:cubicBezTo>
                <a:cubicBezTo>
                  <a:pt x="3806873" y="6516752"/>
                  <a:pt x="3931886" y="6542919"/>
                  <a:pt x="3812765" y="6539864"/>
                </a:cubicBezTo>
                <a:cubicBezTo>
                  <a:pt x="3693644" y="6536809"/>
                  <a:pt x="3472379" y="6533770"/>
                  <a:pt x="3375675" y="6539864"/>
                </a:cubicBezTo>
                <a:cubicBezTo>
                  <a:pt x="3278971" y="6545959"/>
                  <a:pt x="2974375" y="6567147"/>
                  <a:pt x="2826001" y="6539864"/>
                </a:cubicBezTo>
                <a:cubicBezTo>
                  <a:pt x="2677627" y="6512581"/>
                  <a:pt x="2494363" y="6571312"/>
                  <a:pt x="2163744" y="6539864"/>
                </a:cubicBezTo>
                <a:cubicBezTo>
                  <a:pt x="1833125" y="6508416"/>
                  <a:pt x="1977346" y="6554881"/>
                  <a:pt x="1839237" y="6539864"/>
                </a:cubicBezTo>
                <a:cubicBezTo>
                  <a:pt x="1701128" y="6524847"/>
                  <a:pt x="1150916" y="6583885"/>
                  <a:pt x="951812" y="6539864"/>
                </a:cubicBezTo>
                <a:cubicBezTo>
                  <a:pt x="752708" y="6495843"/>
                  <a:pt x="593978" y="6526984"/>
                  <a:pt x="276309" y="6539864"/>
                </a:cubicBezTo>
                <a:cubicBezTo>
                  <a:pt x="135821" y="6523812"/>
                  <a:pt x="4350" y="6397773"/>
                  <a:pt x="0" y="6263555"/>
                </a:cubicBezTo>
                <a:cubicBezTo>
                  <a:pt x="-22309" y="6002412"/>
                  <a:pt x="2125" y="5785703"/>
                  <a:pt x="0" y="5658178"/>
                </a:cubicBezTo>
                <a:cubicBezTo>
                  <a:pt x="-2125" y="5530653"/>
                  <a:pt x="36191" y="5289459"/>
                  <a:pt x="0" y="4933056"/>
                </a:cubicBezTo>
                <a:cubicBezTo>
                  <a:pt x="-36191" y="4576653"/>
                  <a:pt x="-10199" y="4459738"/>
                  <a:pt x="0" y="4267806"/>
                </a:cubicBezTo>
                <a:cubicBezTo>
                  <a:pt x="10199" y="4075874"/>
                  <a:pt x="4354" y="3802315"/>
                  <a:pt x="0" y="3662429"/>
                </a:cubicBezTo>
                <a:cubicBezTo>
                  <a:pt x="-4354" y="3522543"/>
                  <a:pt x="-9180" y="3356004"/>
                  <a:pt x="0" y="3176797"/>
                </a:cubicBezTo>
                <a:cubicBezTo>
                  <a:pt x="9180" y="2997590"/>
                  <a:pt x="13449" y="2662145"/>
                  <a:pt x="0" y="2391803"/>
                </a:cubicBezTo>
                <a:cubicBezTo>
                  <a:pt x="-13449" y="2121461"/>
                  <a:pt x="21648" y="2032854"/>
                  <a:pt x="0" y="1906170"/>
                </a:cubicBezTo>
                <a:cubicBezTo>
                  <a:pt x="-21648" y="1779486"/>
                  <a:pt x="15691" y="1378683"/>
                  <a:pt x="0" y="1121176"/>
                </a:cubicBezTo>
                <a:cubicBezTo>
                  <a:pt x="-15691" y="863669"/>
                  <a:pt x="19462" y="681739"/>
                  <a:pt x="0" y="276309"/>
                </a:cubicBezTo>
                <a:close/>
              </a:path>
            </a:pathLst>
          </a:custGeom>
          <a:solidFill>
            <a:schemeClr val="bg1">
              <a:alpha val="98000"/>
            </a:schemeClr>
          </a:solidFill>
          <a:ln w="19050">
            <a:solidFill>
              <a:schemeClr val="accent2">
                <a:lumMod val="75000"/>
              </a:schemeClr>
            </a:solidFill>
            <a:prstDash val="lgDash"/>
            <a:extLst>
              <a:ext uri="{C807C97D-BFC1-408E-A445-0C87EB9F89A2}">
                <ask:lineSketchStyleProps xmlns:ask="http://schemas.microsoft.com/office/drawing/2018/sketchyshapes" sd="1860289983">
                  <a:prstGeom prst="roundRect">
                    <a:avLst>
                      <a:gd name="adj" fmla="val 4225"/>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9Slide02 Noi dung dai"/>
              <a:ea typeface="+mn-ea"/>
              <a:cs typeface="+mn-cs"/>
            </a:endParaRPr>
          </a:p>
        </p:txBody>
      </p:sp>
      <p:pic>
        <p:nvPicPr>
          <p:cNvPr id="12" name="Picture 11">
            <a:extLst>
              <a:ext uri="{FF2B5EF4-FFF2-40B4-BE49-F238E27FC236}">
                <a16:creationId xmlns:a16="http://schemas.microsoft.com/office/drawing/2014/main" id="{391F76DF-B18A-BAA8-963A-B7213424396D}"/>
              </a:ext>
            </a:extLst>
          </p:cNvPr>
          <p:cNvPicPr>
            <a:picLocks noChangeAspect="1"/>
          </p:cNvPicPr>
          <p:nvPr userDrawn="1"/>
        </p:nvPicPr>
        <p:blipFill>
          <a:blip r:embed="rId6"/>
          <a:stretch>
            <a:fillRect/>
          </a:stretch>
        </p:blipFill>
        <p:spPr>
          <a:xfrm>
            <a:off x="10978251" y="-41568"/>
            <a:ext cx="1249788" cy="499915"/>
          </a:xfrm>
          <a:prstGeom prst="rect">
            <a:avLst/>
          </a:prstGeom>
        </p:spPr>
      </p:pic>
      <p:pic>
        <p:nvPicPr>
          <p:cNvPr id="13" name="Picture 12">
            <a:extLst>
              <a:ext uri="{FF2B5EF4-FFF2-40B4-BE49-F238E27FC236}">
                <a16:creationId xmlns:a16="http://schemas.microsoft.com/office/drawing/2014/main" id="{0E44B398-CF93-D588-5B25-DABE7B73C9F1}"/>
              </a:ext>
            </a:extLst>
          </p:cNvPr>
          <p:cNvPicPr>
            <a:picLocks noChangeAspect="1"/>
          </p:cNvPicPr>
          <p:nvPr userDrawn="1"/>
        </p:nvPicPr>
        <p:blipFill>
          <a:blip r:embed="rId7"/>
          <a:stretch>
            <a:fillRect/>
          </a:stretch>
        </p:blipFill>
        <p:spPr>
          <a:xfrm>
            <a:off x="8671" y="6538717"/>
            <a:ext cx="1450974" cy="499915"/>
          </a:xfrm>
          <a:prstGeom prst="rect">
            <a:avLst/>
          </a:prstGeom>
        </p:spPr>
      </p:pic>
    </p:spTree>
    <p:extLst>
      <p:ext uri="{BB962C8B-B14F-4D97-AF65-F5344CB8AC3E}">
        <p14:creationId xmlns:p14="http://schemas.microsoft.com/office/powerpoint/2010/main" val="174794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2C063-6317-449C-A341-883F2682D4C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5D53C2C5-1069-41AD-AB8E-A272B5F74D0D}"/>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a:extLst>
              <a:ext uri="{FF2B5EF4-FFF2-40B4-BE49-F238E27FC236}">
                <a16:creationId xmlns:a16="http://schemas.microsoft.com/office/drawing/2014/main" id="{B335F9C6-7A1E-4BB1-8382-AF2048FA93AE}"/>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A2CF1DA-3491-456F-B971-C43EFCD2163E}"/>
              </a:ext>
            </a:extLst>
          </p:cNvPr>
          <p:cNvSpPr>
            <a:spLocks noGrp="1"/>
          </p:cNvSpPr>
          <p:nvPr>
            <p:ph type="dt" sz="half" idx="10"/>
          </p:nvPr>
        </p:nvSpPr>
        <p:spPr>
          <a:xfrm>
            <a:off x="838200" y="6356350"/>
            <a:ext cx="2743200" cy="365125"/>
          </a:xfrm>
          <a:prstGeom prst="rect">
            <a:avLst/>
          </a:prstGeom>
        </p:spPr>
        <p:txBody>
          <a:bodyPr/>
          <a:lstStyle/>
          <a:p>
            <a:fld id="{E69B9EE9-F3BF-4B40-83E7-C9BC68FDDB0E}" type="datetimeFigureOut">
              <a:rPr lang="en-US" smtClean="0"/>
              <a:t>5/24/2025</a:t>
            </a:fld>
            <a:endParaRPr lang="en-US"/>
          </a:p>
        </p:txBody>
      </p:sp>
      <p:sp>
        <p:nvSpPr>
          <p:cNvPr id="6" name="Footer Placeholder 5">
            <a:extLst>
              <a:ext uri="{FF2B5EF4-FFF2-40B4-BE49-F238E27FC236}">
                <a16:creationId xmlns:a16="http://schemas.microsoft.com/office/drawing/2014/main" id="{A2D613E6-C32A-4783-9219-260167E50D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3F57CA7-22C9-4637-98D5-45CB81C4CD6F}"/>
              </a:ext>
            </a:extLst>
          </p:cNvPr>
          <p:cNvSpPr>
            <a:spLocks noGrp="1"/>
          </p:cNvSpPr>
          <p:nvPr>
            <p:ph type="sldNum" sz="quarter" idx="12"/>
          </p:nvPr>
        </p:nvSpPr>
        <p:spPr>
          <a:xfrm>
            <a:off x="8610600" y="6356350"/>
            <a:ext cx="2743200" cy="365125"/>
          </a:xfrm>
          <a:prstGeom prst="rect">
            <a:avLst/>
          </a:prstGeom>
        </p:spPr>
        <p:txBody>
          <a:bodyPr/>
          <a:lstStyle/>
          <a:p>
            <a:fld id="{17F55963-6440-4C45-BA09-4E6A99D1BBE0}" type="slidenum">
              <a:rPr lang="en-US" smtClean="0"/>
              <a:t>‹#›</a:t>
            </a:fld>
            <a:endParaRPr lang="en-US"/>
          </a:p>
        </p:txBody>
      </p:sp>
    </p:spTree>
    <p:extLst>
      <p:ext uri="{BB962C8B-B14F-4D97-AF65-F5344CB8AC3E}">
        <p14:creationId xmlns:p14="http://schemas.microsoft.com/office/powerpoint/2010/main" val="200610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C8BC-CF44-4FCD-ACB9-6C06E1FD0DA3}"/>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FE26985-A785-4717-80AD-9B8D8F5B85B1}"/>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305A630-F12E-492E-A3AD-AE8A23606B49}"/>
              </a:ext>
            </a:extLst>
          </p:cNvPr>
          <p:cNvSpPr>
            <a:spLocks noGrp="1"/>
          </p:cNvSpPr>
          <p:nvPr>
            <p:ph type="dt" sz="half" idx="10"/>
          </p:nvPr>
        </p:nvSpPr>
        <p:spPr>
          <a:xfrm>
            <a:off x="838200" y="6356350"/>
            <a:ext cx="2743200" cy="365125"/>
          </a:xfrm>
          <a:prstGeom prst="rect">
            <a:avLst/>
          </a:prstGeom>
        </p:spPr>
        <p:txBody>
          <a:bodyPr/>
          <a:lstStyle/>
          <a:p>
            <a:fld id="{E69B9EE9-F3BF-4B40-83E7-C9BC68FDDB0E}" type="datetimeFigureOut">
              <a:rPr lang="en-US" smtClean="0"/>
              <a:t>5/24/2025</a:t>
            </a:fld>
            <a:endParaRPr lang="en-US"/>
          </a:p>
        </p:txBody>
      </p:sp>
      <p:sp>
        <p:nvSpPr>
          <p:cNvPr id="5" name="Footer Placeholder 4">
            <a:extLst>
              <a:ext uri="{FF2B5EF4-FFF2-40B4-BE49-F238E27FC236}">
                <a16:creationId xmlns:a16="http://schemas.microsoft.com/office/drawing/2014/main" id="{7F5C2166-B6AA-4084-B4D7-069DDC982D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0C20EA2-78ED-4391-B2FB-25000FDBCAA6}"/>
              </a:ext>
            </a:extLst>
          </p:cNvPr>
          <p:cNvSpPr>
            <a:spLocks noGrp="1"/>
          </p:cNvSpPr>
          <p:nvPr>
            <p:ph type="sldNum" sz="quarter" idx="12"/>
          </p:nvPr>
        </p:nvSpPr>
        <p:spPr>
          <a:xfrm>
            <a:off x="8610600" y="6356350"/>
            <a:ext cx="2743200" cy="365125"/>
          </a:xfrm>
          <a:prstGeom prst="rect">
            <a:avLst/>
          </a:prstGeom>
        </p:spPr>
        <p:txBody>
          <a:bodyPr/>
          <a:lstStyle/>
          <a:p>
            <a:fld id="{17F55963-6440-4C45-BA09-4E6A99D1BBE0}" type="slidenum">
              <a:rPr lang="en-US" smtClean="0"/>
              <a:t>‹#›</a:t>
            </a:fld>
            <a:endParaRPr lang="en-US"/>
          </a:p>
        </p:txBody>
      </p:sp>
    </p:spTree>
    <p:extLst>
      <p:ext uri="{BB962C8B-B14F-4D97-AF65-F5344CB8AC3E}">
        <p14:creationId xmlns:p14="http://schemas.microsoft.com/office/powerpoint/2010/main" val="276439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hyperlink" Target="https://www.facebook.com/groups/629898828017053" TargetMode="Externa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D0CE00B-B040-4546-AF5D-EEF96AA126B0}"/>
              </a:ext>
            </a:extLst>
          </p:cNvPr>
          <p:cNvGrpSpPr>
            <a:grpSpLocks noGrp="1" noSelect="1" noRot="1" noMove="1" noResize="1"/>
          </p:cNvGrpSpPr>
          <p:nvPr userDrawn="1">
            <p:custDataLst>
              <p:tags r:id="rId7"/>
            </p:custDataLst>
          </p:nvPr>
        </p:nvGrpSpPr>
        <p:grpSpPr>
          <a:xfrm>
            <a:off x="-2202100" y="-2224223"/>
            <a:ext cx="16596200" cy="11284323"/>
            <a:chOff x="-2202100" y="-2224223"/>
            <a:chExt cx="16596200" cy="11284323"/>
          </a:xfrm>
        </p:grpSpPr>
        <p:sp>
          <p:nvSpPr>
            <p:cNvPr id="12" name="Rectangle 11">
              <a:extLst>
                <a:ext uri="{FF2B5EF4-FFF2-40B4-BE49-F238E27FC236}">
                  <a16:creationId xmlns:a16="http://schemas.microsoft.com/office/drawing/2014/main" id="{AA423BDB-6737-4700-9989-01683A4147DA}"/>
                </a:ext>
              </a:extLst>
            </p:cNvPr>
            <p:cNvSpPr/>
            <p:nvPr/>
          </p:nvSpPr>
          <p:spPr>
            <a:xfrm>
              <a:off x="4851540" y="8494776"/>
              <a:ext cx="2488920" cy="565324"/>
            </a:xfrm>
            <a:prstGeom prst="rect">
              <a:avLst/>
            </a:prstGeom>
            <a:noFill/>
            <a:ln w="2159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391E50D3-44ED-477F-84FB-1E24BC65ED8F}"/>
                </a:ext>
              </a:extLst>
            </p:cNvPr>
            <p:cNvSpPr txBox="1"/>
            <p:nvPr/>
          </p:nvSpPr>
          <p:spPr>
            <a:xfrm>
              <a:off x="5006988" y="8647176"/>
              <a:ext cx="2178025" cy="260524"/>
            </a:xfrm>
            <a:custGeom>
              <a:avLst/>
              <a:gdLst/>
              <a:ahLst/>
              <a:cxnLst/>
              <a:rect l="l" t="t" r="r" b="b"/>
              <a:pathLst>
                <a:path w="2178025" h="260524">
                  <a:moveTo>
                    <a:pt x="1807648" y="222182"/>
                  </a:moveTo>
                  <a:cubicBezTo>
                    <a:pt x="1814010" y="222182"/>
                    <a:pt x="1818838" y="223968"/>
                    <a:pt x="1822130" y="227540"/>
                  </a:cubicBezTo>
                  <a:cubicBezTo>
                    <a:pt x="1825423" y="231111"/>
                    <a:pt x="1827070" y="235576"/>
                    <a:pt x="1827070" y="240934"/>
                  </a:cubicBezTo>
                  <a:cubicBezTo>
                    <a:pt x="1827070" y="246069"/>
                    <a:pt x="1825423" y="250366"/>
                    <a:pt x="1822130" y="253826"/>
                  </a:cubicBezTo>
                  <a:cubicBezTo>
                    <a:pt x="1818838" y="257287"/>
                    <a:pt x="1814010" y="259017"/>
                    <a:pt x="1807648" y="259017"/>
                  </a:cubicBezTo>
                  <a:cubicBezTo>
                    <a:pt x="1801285" y="259017"/>
                    <a:pt x="1796513" y="257287"/>
                    <a:pt x="1793332" y="253826"/>
                  </a:cubicBezTo>
                  <a:cubicBezTo>
                    <a:pt x="1790151" y="250366"/>
                    <a:pt x="1788560" y="246069"/>
                    <a:pt x="1788560" y="240934"/>
                  </a:cubicBezTo>
                  <a:cubicBezTo>
                    <a:pt x="1788560" y="235576"/>
                    <a:pt x="1790151" y="231111"/>
                    <a:pt x="1793332" y="227540"/>
                  </a:cubicBezTo>
                  <a:cubicBezTo>
                    <a:pt x="1796513" y="223968"/>
                    <a:pt x="1801285" y="222182"/>
                    <a:pt x="1807648" y="222182"/>
                  </a:cubicBezTo>
                  <a:close/>
                  <a:moveTo>
                    <a:pt x="807523" y="222182"/>
                  </a:moveTo>
                  <a:cubicBezTo>
                    <a:pt x="813885" y="222182"/>
                    <a:pt x="818713" y="223968"/>
                    <a:pt x="822005" y="227540"/>
                  </a:cubicBezTo>
                  <a:cubicBezTo>
                    <a:pt x="825298" y="231111"/>
                    <a:pt x="826945" y="235576"/>
                    <a:pt x="826945" y="240934"/>
                  </a:cubicBezTo>
                  <a:cubicBezTo>
                    <a:pt x="826945" y="246069"/>
                    <a:pt x="825298" y="250366"/>
                    <a:pt x="822005" y="253826"/>
                  </a:cubicBezTo>
                  <a:cubicBezTo>
                    <a:pt x="818713" y="257287"/>
                    <a:pt x="813885" y="259017"/>
                    <a:pt x="807523" y="259017"/>
                  </a:cubicBezTo>
                  <a:cubicBezTo>
                    <a:pt x="801160" y="259017"/>
                    <a:pt x="796388" y="257287"/>
                    <a:pt x="793207" y="253826"/>
                  </a:cubicBezTo>
                  <a:cubicBezTo>
                    <a:pt x="790026" y="250366"/>
                    <a:pt x="788435" y="246069"/>
                    <a:pt x="788435" y="240934"/>
                  </a:cubicBezTo>
                  <a:cubicBezTo>
                    <a:pt x="788435" y="235576"/>
                    <a:pt x="790026" y="231111"/>
                    <a:pt x="793207" y="227540"/>
                  </a:cubicBezTo>
                  <a:cubicBezTo>
                    <a:pt x="796388" y="223968"/>
                    <a:pt x="801160" y="222182"/>
                    <a:pt x="807523" y="222182"/>
                  </a:cubicBezTo>
                  <a:close/>
                  <a:moveTo>
                    <a:pt x="1488076" y="98952"/>
                  </a:moveTo>
                  <a:cubicBezTo>
                    <a:pt x="1472896" y="98952"/>
                    <a:pt x="1461064" y="104812"/>
                    <a:pt x="1452581" y="116532"/>
                  </a:cubicBezTo>
                  <a:cubicBezTo>
                    <a:pt x="1444098" y="128253"/>
                    <a:pt x="1439856" y="145610"/>
                    <a:pt x="1439856" y="168604"/>
                  </a:cubicBezTo>
                  <a:cubicBezTo>
                    <a:pt x="1439856" y="189142"/>
                    <a:pt x="1444098" y="205215"/>
                    <a:pt x="1452581" y="216824"/>
                  </a:cubicBezTo>
                  <a:cubicBezTo>
                    <a:pt x="1461064" y="228433"/>
                    <a:pt x="1472784" y="234237"/>
                    <a:pt x="1487741" y="234237"/>
                  </a:cubicBezTo>
                  <a:cubicBezTo>
                    <a:pt x="1507387" y="234237"/>
                    <a:pt x="1521730" y="225419"/>
                    <a:pt x="1530771" y="207783"/>
                  </a:cubicBezTo>
                  <a:lnTo>
                    <a:pt x="1530771" y="124569"/>
                  </a:lnTo>
                  <a:cubicBezTo>
                    <a:pt x="1521507" y="107491"/>
                    <a:pt x="1507275" y="98952"/>
                    <a:pt x="1488076" y="98952"/>
                  </a:cubicBezTo>
                  <a:close/>
                  <a:moveTo>
                    <a:pt x="1678241" y="98115"/>
                  </a:moveTo>
                  <a:cubicBezTo>
                    <a:pt x="1665740" y="98115"/>
                    <a:pt x="1655248" y="102663"/>
                    <a:pt x="1646764" y="111761"/>
                  </a:cubicBezTo>
                  <a:cubicBezTo>
                    <a:pt x="1638281" y="120858"/>
                    <a:pt x="1633035" y="133610"/>
                    <a:pt x="1631026" y="150019"/>
                  </a:cubicBezTo>
                  <a:lnTo>
                    <a:pt x="1721774" y="150019"/>
                  </a:lnTo>
                  <a:lnTo>
                    <a:pt x="1721774" y="147675"/>
                  </a:lnTo>
                  <a:cubicBezTo>
                    <a:pt x="1720881" y="131936"/>
                    <a:pt x="1716639" y="119742"/>
                    <a:pt x="1709049" y="111091"/>
                  </a:cubicBezTo>
                  <a:cubicBezTo>
                    <a:pt x="1701459" y="102440"/>
                    <a:pt x="1691190" y="98115"/>
                    <a:pt x="1678241" y="98115"/>
                  </a:cubicBezTo>
                  <a:close/>
                  <a:moveTo>
                    <a:pt x="1855700" y="76014"/>
                  </a:moveTo>
                  <a:lnTo>
                    <a:pt x="1887345" y="76014"/>
                  </a:lnTo>
                  <a:lnTo>
                    <a:pt x="1933389" y="215150"/>
                  </a:lnTo>
                  <a:lnTo>
                    <a:pt x="1978260" y="76014"/>
                  </a:lnTo>
                  <a:lnTo>
                    <a:pt x="2009905" y="76014"/>
                  </a:lnTo>
                  <a:lnTo>
                    <a:pt x="1944941" y="257175"/>
                  </a:lnTo>
                  <a:lnTo>
                    <a:pt x="1921334" y="257175"/>
                  </a:lnTo>
                  <a:close/>
                  <a:moveTo>
                    <a:pt x="1333370" y="76014"/>
                  </a:moveTo>
                  <a:lnTo>
                    <a:pt x="1364344" y="76014"/>
                  </a:lnTo>
                  <a:lnTo>
                    <a:pt x="1364344" y="257175"/>
                  </a:lnTo>
                  <a:lnTo>
                    <a:pt x="1333370" y="257175"/>
                  </a:lnTo>
                  <a:close/>
                  <a:moveTo>
                    <a:pt x="514350" y="76014"/>
                  </a:moveTo>
                  <a:lnTo>
                    <a:pt x="545157" y="76014"/>
                  </a:lnTo>
                  <a:lnTo>
                    <a:pt x="580820" y="211634"/>
                  </a:lnTo>
                  <a:lnTo>
                    <a:pt x="623013" y="76014"/>
                  </a:lnTo>
                  <a:lnTo>
                    <a:pt x="647960" y="76014"/>
                  </a:lnTo>
                  <a:lnTo>
                    <a:pt x="690990" y="214480"/>
                  </a:lnTo>
                  <a:lnTo>
                    <a:pt x="725816" y="76014"/>
                  </a:lnTo>
                  <a:lnTo>
                    <a:pt x="756791" y="76014"/>
                  </a:lnTo>
                  <a:lnTo>
                    <a:pt x="704050" y="257175"/>
                  </a:lnTo>
                  <a:lnTo>
                    <a:pt x="678935" y="257175"/>
                  </a:lnTo>
                  <a:lnTo>
                    <a:pt x="634901" y="119881"/>
                  </a:lnTo>
                  <a:lnTo>
                    <a:pt x="592038" y="257175"/>
                  </a:lnTo>
                  <a:lnTo>
                    <a:pt x="566923" y="257175"/>
                  </a:lnTo>
                  <a:close/>
                  <a:moveTo>
                    <a:pt x="257175" y="76014"/>
                  </a:moveTo>
                  <a:lnTo>
                    <a:pt x="287982" y="76014"/>
                  </a:lnTo>
                  <a:lnTo>
                    <a:pt x="323645" y="211634"/>
                  </a:lnTo>
                  <a:lnTo>
                    <a:pt x="365838" y="76014"/>
                  </a:lnTo>
                  <a:lnTo>
                    <a:pt x="390785" y="76014"/>
                  </a:lnTo>
                  <a:lnTo>
                    <a:pt x="433815" y="214480"/>
                  </a:lnTo>
                  <a:lnTo>
                    <a:pt x="468641" y="76014"/>
                  </a:lnTo>
                  <a:lnTo>
                    <a:pt x="499616" y="76014"/>
                  </a:lnTo>
                  <a:lnTo>
                    <a:pt x="446875" y="257175"/>
                  </a:lnTo>
                  <a:lnTo>
                    <a:pt x="421760" y="257175"/>
                  </a:lnTo>
                  <a:lnTo>
                    <a:pt x="377726" y="119881"/>
                  </a:lnTo>
                  <a:lnTo>
                    <a:pt x="334863" y="257175"/>
                  </a:lnTo>
                  <a:lnTo>
                    <a:pt x="309748" y="257175"/>
                  </a:lnTo>
                  <a:close/>
                  <a:moveTo>
                    <a:pt x="0" y="76014"/>
                  </a:moveTo>
                  <a:lnTo>
                    <a:pt x="30807" y="76014"/>
                  </a:lnTo>
                  <a:lnTo>
                    <a:pt x="66470" y="211634"/>
                  </a:lnTo>
                  <a:lnTo>
                    <a:pt x="108663" y="76014"/>
                  </a:lnTo>
                  <a:lnTo>
                    <a:pt x="133610" y="76014"/>
                  </a:lnTo>
                  <a:lnTo>
                    <a:pt x="176640" y="214480"/>
                  </a:lnTo>
                  <a:lnTo>
                    <a:pt x="211466" y="76014"/>
                  </a:lnTo>
                  <a:lnTo>
                    <a:pt x="242441" y="76014"/>
                  </a:lnTo>
                  <a:lnTo>
                    <a:pt x="189700" y="257175"/>
                  </a:lnTo>
                  <a:lnTo>
                    <a:pt x="164585" y="257175"/>
                  </a:lnTo>
                  <a:lnTo>
                    <a:pt x="120551" y="119881"/>
                  </a:lnTo>
                  <a:lnTo>
                    <a:pt x="77688" y="257175"/>
                  </a:lnTo>
                  <a:lnTo>
                    <a:pt x="52573" y="257175"/>
                  </a:lnTo>
                  <a:close/>
                  <a:moveTo>
                    <a:pt x="2120094" y="72666"/>
                  </a:moveTo>
                  <a:cubicBezTo>
                    <a:pt x="2158380" y="72666"/>
                    <a:pt x="2177690" y="94264"/>
                    <a:pt x="2178025" y="137461"/>
                  </a:cubicBezTo>
                  <a:lnTo>
                    <a:pt x="2178025" y="257175"/>
                  </a:lnTo>
                  <a:lnTo>
                    <a:pt x="2147050" y="257175"/>
                  </a:lnTo>
                  <a:lnTo>
                    <a:pt x="2147050" y="137294"/>
                  </a:lnTo>
                  <a:cubicBezTo>
                    <a:pt x="2146938" y="124234"/>
                    <a:pt x="2143953" y="114579"/>
                    <a:pt x="2138092" y="108328"/>
                  </a:cubicBezTo>
                  <a:cubicBezTo>
                    <a:pt x="2132232" y="102077"/>
                    <a:pt x="2123107" y="98952"/>
                    <a:pt x="2110717" y="98952"/>
                  </a:cubicBezTo>
                  <a:cubicBezTo>
                    <a:pt x="2100671" y="98952"/>
                    <a:pt x="2091853" y="101631"/>
                    <a:pt x="2084263" y="106989"/>
                  </a:cubicBezTo>
                  <a:cubicBezTo>
                    <a:pt x="2076673" y="112347"/>
                    <a:pt x="2070757" y="119379"/>
                    <a:pt x="2066515" y="128085"/>
                  </a:cubicBezTo>
                  <a:lnTo>
                    <a:pt x="2066515" y="257175"/>
                  </a:lnTo>
                  <a:lnTo>
                    <a:pt x="2035541" y="257175"/>
                  </a:lnTo>
                  <a:lnTo>
                    <a:pt x="2035541" y="76014"/>
                  </a:lnTo>
                  <a:lnTo>
                    <a:pt x="2064841" y="76014"/>
                  </a:lnTo>
                  <a:lnTo>
                    <a:pt x="2065846" y="98785"/>
                  </a:lnTo>
                  <a:cubicBezTo>
                    <a:pt x="2079687" y="81372"/>
                    <a:pt x="2097769" y="72666"/>
                    <a:pt x="2120094" y="72666"/>
                  </a:cubicBezTo>
                  <a:close/>
                  <a:moveTo>
                    <a:pt x="1678241" y="72666"/>
                  </a:moveTo>
                  <a:cubicBezTo>
                    <a:pt x="1701794" y="72666"/>
                    <a:pt x="1720099" y="80423"/>
                    <a:pt x="1733159" y="95938"/>
                  </a:cubicBezTo>
                  <a:cubicBezTo>
                    <a:pt x="1746219" y="111454"/>
                    <a:pt x="1752749" y="133666"/>
                    <a:pt x="1752749" y="162576"/>
                  </a:cubicBezTo>
                  <a:lnTo>
                    <a:pt x="1752749" y="175468"/>
                  </a:lnTo>
                  <a:lnTo>
                    <a:pt x="1630021" y="175468"/>
                  </a:lnTo>
                  <a:cubicBezTo>
                    <a:pt x="1630468" y="193328"/>
                    <a:pt x="1635686" y="207755"/>
                    <a:pt x="1645676" y="218749"/>
                  </a:cubicBezTo>
                  <a:cubicBezTo>
                    <a:pt x="1655666" y="229744"/>
                    <a:pt x="1668363" y="235241"/>
                    <a:pt x="1683767" y="235241"/>
                  </a:cubicBezTo>
                  <a:cubicBezTo>
                    <a:pt x="1694706" y="235241"/>
                    <a:pt x="1703970" y="233009"/>
                    <a:pt x="1711560" y="228544"/>
                  </a:cubicBezTo>
                  <a:cubicBezTo>
                    <a:pt x="1719151" y="224079"/>
                    <a:pt x="1725792" y="218163"/>
                    <a:pt x="1731485" y="210796"/>
                  </a:cubicBezTo>
                  <a:lnTo>
                    <a:pt x="1750405" y="225530"/>
                  </a:lnTo>
                  <a:cubicBezTo>
                    <a:pt x="1735224" y="248859"/>
                    <a:pt x="1712453" y="260524"/>
                    <a:pt x="1682092" y="260524"/>
                  </a:cubicBezTo>
                  <a:cubicBezTo>
                    <a:pt x="1657536" y="260524"/>
                    <a:pt x="1637556" y="252459"/>
                    <a:pt x="1622152" y="236330"/>
                  </a:cubicBezTo>
                  <a:cubicBezTo>
                    <a:pt x="1606748" y="220201"/>
                    <a:pt x="1599046" y="198630"/>
                    <a:pt x="1599046" y="171617"/>
                  </a:cubicBezTo>
                  <a:lnTo>
                    <a:pt x="1599046" y="165925"/>
                  </a:lnTo>
                  <a:cubicBezTo>
                    <a:pt x="1599046" y="147954"/>
                    <a:pt x="1602479" y="131908"/>
                    <a:pt x="1609343" y="117788"/>
                  </a:cubicBezTo>
                  <a:cubicBezTo>
                    <a:pt x="1616208" y="103668"/>
                    <a:pt x="1625807" y="92618"/>
                    <a:pt x="1638142" y="84637"/>
                  </a:cubicBezTo>
                  <a:cubicBezTo>
                    <a:pt x="1650476" y="76656"/>
                    <a:pt x="1663842" y="72666"/>
                    <a:pt x="1678241" y="72666"/>
                  </a:cubicBezTo>
                  <a:close/>
                  <a:moveTo>
                    <a:pt x="1129624" y="72666"/>
                  </a:moveTo>
                  <a:cubicBezTo>
                    <a:pt x="1150162" y="72666"/>
                    <a:pt x="1166822" y="77968"/>
                    <a:pt x="1179602" y="88572"/>
                  </a:cubicBezTo>
                  <a:cubicBezTo>
                    <a:pt x="1192383" y="99175"/>
                    <a:pt x="1198773" y="112737"/>
                    <a:pt x="1198773" y="129257"/>
                  </a:cubicBezTo>
                  <a:lnTo>
                    <a:pt x="1167631" y="129257"/>
                  </a:lnTo>
                  <a:cubicBezTo>
                    <a:pt x="1167631" y="120774"/>
                    <a:pt x="1164031" y="113463"/>
                    <a:pt x="1156831" y="107324"/>
                  </a:cubicBezTo>
                  <a:cubicBezTo>
                    <a:pt x="1149632" y="101185"/>
                    <a:pt x="1140563" y="98115"/>
                    <a:pt x="1129624" y="98115"/>
                  </a:cubicBezTo>
                  <a:cubicBezTo>
                    <a:pt x="1118350" y="98115"/>
                    <a:pt x="1109532" y="100571"/>
                    <a:pt x="1103170" y="105482"/>
                  </a:cubicBezTo>
                  <a:cubicBezTo>
                    <a:pt x="1096807" y="110393"/>
                    <a:pt x="1093626" y="116811"/>
                    <a:pt x="1093626" y="124737"/>
                  </a:cubicBezTo>
                  <a:cubicBezTo>
                    <a:pt x="1093626" y="132215"/>
                    <a:pt x="1096584" y="137852"/>
                    <a:pt x="1102500" y="141647"/>
                  </a:cubicBezTo>
                  <a:cubicBezTo>
                    <a:pt x="1108416" y="145442"/>
                    <a:pt x="1119104" y="149070"/>
                    <a:pt x="1134563" y="152530"/>
                  </a:cubicBezTo>
                  <a:cubicBezTo>
                    <a:pt x="1150023" y="155990"/>
                    <a:pt x="1162552" y="160120"/>
                    <a:pt x="1172151" y="164920"/>
                  </a:cubicBezTo>
                  <a:cubicBezTo>
                    <a:pt x="1181751" y="169720"/>
                    <a:pt x="1188867" y="175496"/>
                    <a:pt x="1193499" y="182249"/>
                  </a:cubicBezTo>
                  <a:cubicBezTo>
                    <a:pt x="1198131" y="189002"/>
                    <a:pt x="1200447" y="197234"/>
                    <a:pt x="1200447" y="206945"/>
                  </a:cubicBezTo>
                  <a:cubicBezTo>
                    <a:pt x="1200447" y="223131"/>
                    <a:pt x="1193973" y="236107"/>
                    <a:pt x="1181025" y="245873"/>
                  </a:cubicBezTo>
                  <a:cubicBezTo>
                    <a:pt x="1168077" y="255640"/>
                    <a:pt x="1151278" y="260524"/>
                    <a:pt x="1130628" y="260524"/>
                  </a:cubicBezTo>
                  <a:cubicBezTo>
                    <a:pt x="1116118" y="260524"/>
                    <a:pt x="1103281" y="257956"/>
                    <a:pt x="1092119" y="252822"/>
                  </a:cubicBezTo>
                  <a:cubicBezTo>
                    <a:pt x="1080957" y="247687"/>
                    <a:pt x="1072223" y="240516"/>
                    <a:pt x="1065916" y="231307"/>
                  </a:cubicBezTo>
                  <a:cubicBezTo>
                    <a:pt x="1059610" y="222098"/>
                    <a:pt x="1056456" y="212136"/>
                    <a:pt x="1056456" y="201420"/>
                  </a:cubicBezTo>
                  <a:lnTo>
                    <a:pt x="1087431" y="201420"/>
                  </a:lnTo>
                  <a:cubicBezTo>
                    <a:pt x="1087989" y="211801"/>
                    <a:pt x="1092147" y="220033"/>
                    <a:pt x="1099905" y="226116"/>
                  </a:cubicBezTo>
                  <a:cubicBezTo>
                    <a:pt x="1107662" y="232200"/>
                    <a:pt x="1117904" y="235241"/>
                    <a:pt x="1130628" y="235241"/>
                  </a:cubicBezTo>
                  <a:cubicBezTo>
                    <a:pt x="1142349" y="235241"/>
                    <a:pt x="1151753" y="232869"/>
                    <a:pt x="1158841" y="228126"/>
                  </a:cubicBezTo>
                  <a:cubicBezTo>
                    <a:pt x="1165929" y="223382"/>
                    <a:pt x="1169473" y="217047"/>
                    <a:pt x="1169473" y="209122"/>
                  </a:cubicBezTo>
                  <a:cubicBezTo>
                    <a:pt x="1169473" y="200751"/>
                    <a:pt x="1166319" y="194249"/>
                    <a:pt x="1160013" y="189616"/>
                  </a:cubicBezTo>
                  <a:cubicBezTo>
                    <a:pt x="1153706" y="184984"/>
                    <a:pt x="1142711" y="180994"/>
                    <a:pt x="1127029" y="177645"/>
                  </a:cubicBezTo>
                  <a:cubicBezTo>
                    <a:pt x="1111346" y="174296"/>
                    <a:pt x="1098900" y="170278"/>
                    <a:pt x="1089691" y="165590"/>
                  </a:cubicBezTo>
                  <a:cubicBezTo>
                    <a:pt x="1080483" y="160902"/>
                    <a:pt x="1073674" y="155321"/>
                    <a:pt x="1069265" y="148847"/>
                  </a:cubicBezTo>
                  <a:cubicBezTo>
                    <a:pt x="1064856" y="142373"/>
                    <a:pt x="1062651" y="134671"/>
                    <a:pt x="1062651" y="125741"/>
                  </a:cubicBezTo>
                  <a:cubicBezTo>
                    <a:pt x="1062651" y="110896"/>
                    <a:pt x="1068930" y="98338"/>
                    <a:pt x="1081487" y="88069"/>
                  </a:cubicBezTo>
                  <a:cubicBezTo>
                    <a:pt x="1094045" y="77800"/>
                    <a:pt x="1110090" y="72666"/>
                    <a:pt x="1129624" y="72666"/>
                  </a:cubicBezTo>
                  <a:close/>
                  <a:moveTo>
                    <a:pt x="942472" y="35831"/>
                  </a:moveTo>
                  <a:cubicBezTo>
                    <a:pt x="928855" y="35831"/>
                    <a:pt x="917916" y="41049"/>
                    <a:pt x="909656" y="51485"/>
                  </a:cubicBezTo>
                  <a:cubicBezTo>
                    <a:pt x="901396" y="61922"/>
                    <a:pt x="897266" y="75679"/>
                    <a:pt x="897266" y="92757"/>
                  </a:cubicBezTo>
                  <a:cubicBezTo>
                    <a:pt x="897266" y="109389"/>
                    <a:pt x="901256" y="123090"/>
                    <a:pt x="909237" y="133862"/>
                  </a:cubicBezTo>
                  <a:cubicBezTo>
                    <a:pt x="917218" y="144633"/>
                    <a:pt x="927906" y="150019"/>
                    <a:pt x="941300" y="150019"/>
                  </a:cubicBezTo>
                  <a:cubicBezTo>
                    <a:pt x="951681" y="150019"/>
                    <a:pt x="961253" y="146838"/>
                    <a:pt x="970015" y="140475"/>
                  </a:cubicBezTo>
                  <a:cubicBezTo>
                    <a:pt x="978777" y="134113"/>
                    <a:pt x="985168" y="126243"/>
                    <a:pt x="989186" y="116867"/>
                  </a:cubicBezTo>
                  <a:lnTo>
                    <a:pt x="989186" y="104477"/>
                  </a:lnTo>
                  <a:cubicBezTo>
                    <a:pt x="989186" y="84163"/>
                    <a:pt x="984777" y="67643"/>
                    <a:pt x="975959" y="54918"/>
                  </a:cubicBezTo>
                  <a:cubicBezTo>
                    <a:pt x="967141" y="42193"/>
                    <a:pt x="955979" y="35831"/>
                    <a:pt x="942472" y="35831"/>
                  </a:cubicBezTo>
                  <a:close/>
                  <a:moveTo>
                    <a:pt x="1349108" y="10046"/>
                  </a:moveTo>
                  <a:cubicBezTo>
                    <a:pt x="1355136" y="10046"/>
                    <a:pt x="1359712" y="11776"/>
                    <a:pt x="1362837" y="15237"/>
                  </a:cubicBezTo>
                  <a:cubicBezTo>
                    <a:pt x="1365963" y="18697"/>
                    <a:pt x="1367526" y="22938"/>
                    <a:pt x="1367526" y="27961"/>
                  </a:cubicBezTo>
                  <a:cubicBezTo>
                    <a:pt x="1367526" y="32984"/>
                    <a:pt x="1365963" y="37170"/>
                    <a:pt x="1362837" y="40519"/>
                  </a:cubicBezTo>
                  <a:cubicBezTo>
                    <a:pt x="1359712" y="43867"/>
                    <a:pt x="1355136" y="45542"/>
                    <a:pt x="1349108" y="45542"/>
                  </a:cubicBezTo>
                  <a:cubicBezTo>
                    <a:pt x="1343081" y="45542"/>
                    <a:pt x="1338532" y="43867"/>
                    <a:pt x="1335462" y="40519"/>
                  </a:cubicBezTo>
                  <a:cubicBezTo>
                    <a:pt x="1332393" y="37170"/>
                    <a:pt x="1330858" y="32984"/>
                    <a:pt x="1330858" y="27961"/>
                  </a:cubicBezTo>
                  <a:cubicBezTo>
                    <a:pt x="1330858" y="22938"/>
                    <a:pt x="1332393" y="18697"/>
                    <a:pt x="1335462" y="15237"/>
                  </a:cubicBezTo>
                  <a:cubicBezTo>
                    <a:pt x="1338532" y="11776"/>
                    <a:pt x="1343081" y="10046"/>
                    <a:pt x="1349108" y="10046"/>
                  </a:cubicBezTo>
                  <a:close/>
                  <a:moveTo>
                    <a:pt x="942305" y="10046"/>
                  </a:moveTo>
                  <a:cubicBezTo>
                    <a:pt x="966415" y="10046"/>
                    <a:pt x="985419" y="19060"/>
                    <a:pt x="999316" y="37086"/>
                  </a:cubicBezTo>
                  <a:cubicBezTo>
                    <a:pt x="1013212" y="55113"/>
                    <a:pt x="1020161" y="79698"/>
                    <a:pt x="1020161" y="110840"/>
                  </a:cubicBezTo>
                  <a:lnTo>
                    <a:pt x="1020161" y="119881"/>
                  </a:lnTo>
                  <a:cubicBezTo>
                    <a:pt x="1020161" y="167320"/>
                    <a:pt x="1010785" y="201950"/>
                    <a:pt x="992032" y="223772"/>
                  </a:cubicBezTo>
                  <a:cubicBezTo>
                    <a:pt x="973280" y="245594"/>
                    <a:pt x="944984" y="256784"/>
                    <a:pt x="907144" y="257342"/>
                  </a:cubicBezTo>
                  <a:lnTo>
                    <a:pt x="901117" y="257342"/>
                  </a:lnTo>
                  <a:lnTo>
                    <a:pt x="901117" y="231056"/>
                  </a:lnTo>
                  <a:lnTo>
                    <a:pt x="907647" y="231056"/>
                  </a:lnTo>
                  <a:cubicBezTo>
                    <a:pt x="933208" y="230611"/>
                    <a:pt x="952853" y="223956"/>
                    <a:pt x="966583" y="211089"/>
                  </a:cubicBezTo>
                  <a:cubicBezTo>
                    <a:pt x="980312" y="198223"/>
                    <a:pt x="987791" y="177866"/>
                    <a:pt x="989018" y="150019"/>
                  </a:cubicBezTo>
                  <a:cubicBezTo>
                    <a:pt x="982545" y="157721"/>
                    <a:pt x="974815" y="163916"/>
                    <a:pt x="965829" y="168604"/>
                  </a:cubicBezTo>
                  <a:cubicBezTo>
                    <a:pt x="956844" y="173292"/>
                    <a:pt x="946993" y="175636"/>
                    <a:pt x="936278" y="175636"/>
                  </a:cubicBezTo>
                  <a:cubicBezTo>
                    <a:pt x="922213" y="175636"/>
                    <a:pt x="909963" y="172176"/>
                    <a:pt x="899526" y="165255"/>
                  </a:cubicBezTo>
                  <a:cubicBezTo>
                    <a:pt x="889090" y="158335"/>
                    <a:pt x="881025" y="148596"/>
                    <a:pt x="875332" y="136038"/>
                  </a:cubicBezTo>
                  <a:cubicBezTo>
                    <a:pt x="869640" y="123481"/>
                    <a:pt x="866793" y="109612"/>
                    <a:pt x="866793" y="94431"/>
                  </a:cubicBezTo>
                  <a:cubicBezTo>
                    <a:pt x="866793" y="78135"/>
                    <a:pt x="869891" y="63457"/>
                    <a:pt x="876086" y="50397"/>
                  </a:cubicBezTo>
                  <a:cubicBezTo>
                    <a:pt x="882281" y="37338"/>
                    <a:pt x="891071" y="27347"/>
                    <a:pt x="902456" y="20427"/>
                  </a:cubicBezTo>
                  <a:cubicBezTo>
                    <a:pt x="913842" y="13506"/>
                    <a:pt x="927125" y="10046"/>
                    <a:pt x="942305" y="10046"/>
                  </a:cubicBezTo>
                  <a:close/>
                  <a:moveTo>
                    <a:pt x="1530771" y="0"/>
                  </a:moveTo>
                  <a:lnTo>
                    <a:pt x="1561746" y="0"/>
                  </a:lnTo>
                  <a:lnTo>
                    <a:pt x="1561746" y="257175"/>
                  </a:lnTo>
                  <a:lnTo>
                    <a:pt x="1533283" y="257175"/>
                  </a:lnTo>
                  <a:lnTo>
                    <a:pt x="1531776" y="237753"/>
                  </a:lnTo>
                  <a:cubicBezTo>
                    <a:pt x="1519386" y="252933"/>
                    <a:pt x="1502141" y="260524"/>
                    <a:pt x="1480040" y="260524"/>
                  </a:cubicBezTo>
                  <a:cubicBezTo>
                    <a:pt x="1459055" y="260524"/>
                    <a:pt x="1441949" y="251929"/>
                    <a:pt x="1428722" y="234739"/>
                  </a:cubicBezTo>
                  <a:cubicBezTo>
                    <a:pt x="1415495" y="217549"/>
                    <a:pt x="1408881" y="195114"/>
                    <a:pt x="1408881" y="167432"/>
                  </a:cubicBezTo>
                  <a:lnTo>
                    <a:pt x="1408881" y="165088"/>
                  </a:lnTo>
                  <a:cubicBezTo>
                    <a:pt x="1408881" y="137294"/>
                    <a:pt x="1415467" y="114942"/>
                    <a:pt x="1428638" y="98031"/>
                  </a:cubicBezTo>
                  <a:cubicBezTo>
                    <a:pt x="1441809" y="81121"/>
                    <a:pt x="1459055" y="72666"/>
                    <a:pt x="1480375" y="72666"/>
                  </a:cubicBezTo>
                  <a:cubicBezTo>
                    <a:pt x="1501583" y="72666"/>
                    <a:pt x="1518381" y="79921"/>
                    <a:pt x="1530771" y="94431"/>
                  </a:cubicBezTo>
                  <a:close/>
                  <a:moveTo>
                    <a:pt x="1247645" y="0"/>
                  </a:moveTo>
                  <a:lnTo>
                    <a:pt x="1278619" y="0"/>
                  </a:lnTo>
                  <a:lnTo>
                    <a:pt x="1278619" y="257175"/>
                  </a:lnTo>
                  <a:lnTo>
                    <a:pt x="1247645" y="257175"/>
                  </a:lnTo>
                  <a:close/>
                </a:path>
              </a:pathLst>
            </a:custGeom>
            <a:solidFill>
              <a:schemeClr val="bg1">
                <a:lumMod val="7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2700">
                <a:solidFill>
                  <a:schemeClr val="bg1">
                    <a:lumMod val="75000"/>
                  </a:schemeClr>
                </a:solidFill>
                <a:latin typeface="#9Slide02 Noi dung dai" panose="02000000000000000000" pitchFamily="2" charset="0"/>
                <a:ea typeface="#9Slide02 Noi dung dai" panose="02000000000000000000" pitchFamily="2" charset="0"/>
              </a:endParaRPr>
            </a:p>
          </p:txBody>
        </p:sp>
        <p:sp>
          <p:nvSpPr>
            <p:cNvPr id="14" name="Rectangle 13">
              <a:extLst>
                <a:ext uri="{FF2B5EF4-FFF2-40B4-BE49-F238E27FC236}">
                  <a16:creationId xmlns:a16="http://schemas.microsoft.com/office/drawing/2014/main" id="{52465F73-4B27-4C0F-9B02-510C8E083EB6}"/>
                </a:ext>
              </a:extLst>
            </p:cNvPr>
            <p:cNvSpPr/>
            <p:nvPr/>
          </p:nvSpPr>
          <p:spPr>
            <a:xfrm>
              <a:off x="-2202100" y="-2224223"/>
              <a:ext cx="16596200" cy="11284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9Slide.vn">
            <a:extLst>
              <a:ext uri="{FF2B5EF4-FFF2-40B4-BE49-F238E27FC236}">
                <a16:creationId xmlns:a16="http://schemas.microsoft.com/office/drawing/2014/main" id="{0F30810D-0BA7-48B5-9100-E09C5C296021}"/>
              </a:ext>
            </a:extLst>
          </p:cNvPr>
          <p:cNvSpPr>
            <a:spLocks noSelect="1"/>
          </p:cNvSpPr>
          <p:nvPr userDrawn="1">
            <p:custDataLst>
              <p:tags r:id="rId8"/>
            </p:custDataLst>
          </p:nvPr>
        </p:nvSpPr>
        <p:spPr>
          <a:xfrm>
            <a:off x="6091428" y="-8915400"/>
            <a:ext cx="9144" cy="914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9Slide.vn">
            <a:extLst>
              <a:ext uri="{FF2B5EF4-FFF2-40B4-BE49-F238E27FC236}">
                <a16:creationId xmlns:a16="http://schemas.microsoft.com/office/drawing/2014/main" id="{5703AF2A-1D5F-4BD2-8904-9B6C863CB9B3}"/>
              </a:ext>
            </a:extLst>
          </p:cNvPr>
          <p:cNvSpPr>
            <a:spLocks noSelect="1"/>
          </p:cNvSpPr>
          <p:nvPr userDrawn="1">
            <p:custDataLst>
              <p:tags r:id="rId9"/>
            </p:custDataLst>
          </p:nvPr>
        </p:nvSpPr>
        <p:spPr>
          <a:xfrm>
            <a:off x="6091428" y="15764256"/>
            <a:ext cx="9144" cy="914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3">
            <a:extLst>
              <a:ext uri="{FF2B5EF4-FFF2-40B4-BE49-F238E27FC236}">
                <a16:creationId xmlns:a16="http://schemas.microsoft.com/office/drawing/2014/main" id="{1760FE44-8ADA-5567-7CE6-4469C8ECFD6B}"/>
              </a:ext>
            </a:extLst>
          </p:cNvPr>
          <p:cNvSpPr txBox="1"/>
          <p:nvPr userDrawn="1"/>
        </p:nvSpPr>
        <p:spPr>
          <a:xfrm>
            <a:off x="3169920" y="8783763"/>
            <a:ext cx="6812280" cy="1015663"/>
          </a:xfrm>
          <a:prstGeom prst="rect">
            <a:avLst/>
          </a:prstGeom>
          <a:no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19958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C9430"/>
                </a:solidFill>
                <a:effectLst/>
                <a:uLnTx/>
                <a:uFillTx/>
                <a:latin typeface="SVN-Newton" panose="02040603050506020204" pitchFamily="18" charset="0"/>
                <a:ea typeface="+mn-ea"/>
                <a:cs typeface="Times New Roman" panose="02020603050405020304" pitchFamily="18" charset="0"/>
              </a:rPr>
              <a:t>MĂNG NON – TÀI LIỆU TIỂU HỌC</a:t>
            </a:r>
          </a:p>
          <a:p>
            <a:pPr marL="0" marR="0" lvl="0" indent="0" algn="ctr" defTabSz="19958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ời</a:t>
            </a:r>
            <a:r>
              <a:rPr kumimoji="0" lang="en-US"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ruy</a:t>
            </a:r>
            <a:r>
              <a:rPr kumimoji="0" lang="en-US"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0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cập</a:t>
            </a:r>
            <a:r>
              <a:rPr kumimoji="0" lang="en-US"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2000" b="0" i="0" u="none" strike="noStrike" kern="1200" cap="none" spc="0" normalizeH="0" baseline="0" noProof="0" dirty="0">
                <a:ln>
                  <a:noFill/>
                </a:ln>
                <a:solidFill>
                  <a:srgbClr val="FF0066"/>
                </a:solidFill>
                <a:effectLst/>
                <a:uLnTx/>
                <a:uFillTx/>
                <a:latin typeface="Times New Roman" panose="02020603050405020304" pitchFamily="18" charset="0"/>
                <a:ea typeface="+mn-ea"/>
                <a:cs typeface="Times New Roman" panose="02020603050405020304" pitchFamily="18" charset="0"/>
                <a:hlinkClick r:id="rId10">
                  <a:extLst>
                    <a:ext uri="{A12FA001-AC4F-418D-AE19-62706E023703}">
                      <ahyp:hlinkClr xmlns:ahyp="http://schemas.microsoft.com/office/drawing/2018/hyperlinkcolor" val="tx"/>
                    </a:ext>
                  </a:extLst>
                </a:hlinkClick>
              </a:rPr>
              <a:t>MĂNG NON- TÀI LIỆU TIỂU HỌC | Facebook</a:t>
            </a:r>
            <a:endParaRPr kumimoji="0" lang="en-US" sz="2000" b="0" i="0" u="none" strike="noStrike" kern="1200" cap="none" spc="0" normalizeH="0" baseline="0" noProof="0" dirty="0">
              <a:ln>
                <a:noFill/>
              </a:ln>
              <a:solidFill>
                <a:srgbClr val="FF0066"/>
              </a:solidFill>
              <a:effectLst/>
              <a:uLnTx/>
              <a:uFillTx/>
              <a:latin typeface="SVN-Newton" panose="02040603050506020204" pitchFamily="18" charset="0"/>
              <a:ea typeface="+mn-ea"/>
              <a:cs typeface="Times New Roman" panose="02020603050405020304" pitchFamily="18" charset="0"/>
            </a:endParaRPr>
          </a:p>
          <a:p>
            <a:pPr marL="0" marR="0" lvl="0" indent="0" algn="ctr" defTabSz="19958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4370"/>
                </a:solidFill>
                <a:effectLst/>
                <a:uLnTx/>
                <a:uFillTx/>
                <a:latin typeface="SVN-Newton" panose="02040603050506020204" pitchFamily="18" charset="0"/>
                <a:ea typeface="+mn-ea"/>
                <a:cs typeface="Times New Roman" panose="02020603050405020304" pitchFamily="18" charset="0"/>
              </a:rPr>
              <a:t>SĐT ZALO : </a:t>
            </a:r>
            <a:r>
              <a:rPr kumimoji="0" lang="en-US" sz="2000" b="1" i="0" u="sng" strike="noStrike" kern="1200" cap="none" spc="0" normalizeH="0" baseline="0" noProof="0" dirty="0">
                <a:ln>
                  <a:noFill/>
                </a:ln>
                <a:solidFill>
                  <a:srgbClr val="0D4370"/>
                </a:solidFill>
                <a:effectLst/>
                <a:uLnTx/>
                <a:uFillTx/>
                <a:latin typeface="SVN-Newton" panose="02040603050506020204" pitchFamily="18" charset="0"/>
                <a:ea typeface="+mn-ea"/>
                <a:cs typeface="+mn-cs"/>
              </a:rPr>
              <a:t>0382348780 (</a:t>
            </a:r>
            <a:r>
              <a:rPr kumimoji="0" lang="en-US" sz="2000" b="1" i="0" u="sng" strike="noStrike" kern="1200" cap="none" spc="0" normalizeH="0" baseline="0" noProof="0" dirty="0" err="1">
                <a:ln>
                  <a:noFill/>
                </a:ln>
                <a:solidFill>
                  <a:srgbClr val="0D4370"/>
                </a:solidFill>
                <a:effectLst/>
                <a:uLnTx/>
                <a:uFillTx/>
                <a:latin typeface="SVN-Newton" panose="02040603050506020204" pitchFamily="18" charset="0"/>
                <a:ea typeface="+mn-ea"/>
                <a:cs typeface="+mn-cs"/>
              </a:rPr>
              <a:t>Cảm</a:t>
            </a:r>
            <a:r>
              <a:rPr kumimoji="0" lang="en-US" sz="2000" b="1" i="0" u="sng" strike="noStrike" kern="1200" cap="none" spc="0" normalizeH="0" baseline="0" noProof="0" dirty="0">
                <a:ln>
                  <a:noFill/>
                </a:ln>
                <a:solidFill>
                  <a:srgbClr val="0D4370"/>
                </a:solidFill>
                <a:effectLst/>
                <a:uLnTx/>
                <a:uFillTx/>
                <a:latin typeface="SVN-Newton" panose="02040603050506020204" pitchFamily="18" charset="0"/>
                <a:ea typeface="+mn-ea"/>
                <a:cs typeface="+mn-cs"/>
              </a:rPr>
              <a:t>) </a:t>
            </a:r>
            <a:r>
              <a:rPr kumimoji="0" lang="en-US" sz="2000" b="1" i="0" u="none" strike="noStrike" kern="1200" cap="none" spc="0" normalizeH="0" baseline="0" noProof="0" dirty="0">
                <a:ln>
                  <a:noFill/>
                </a:ln>
                <a:solidFill>
                  <a:srgbClr val="0D4370"/>
                </a:solidFill>
                <a:effectLst/>
                <a:uLnTx/>
                <a:uFillTx/>
                <a:latin typeface="SVN-Newton" panose="02040603050506020204" pitchFamily="18" charset="0"/>
                <a:ea typeface="+mn-ea"/>
                <a:cs typeface="+mn-cs"/>
              </a:rPr>
              <a:t> – </a:t>
            </a:r>
            <a:r>
              <a:rPr kumimoji="0" lang="en-US" sz="2000" b="1" i="0" u="sng" strike="noStrike" kern="1200" cap="none" spc="0" normalizeH="0" baseline="0" noProof="0" dirty="0">
                <a:ln>
                  <a:noFill/>
                </a:ln>
                <a:solidFill>
                  <a:srgbClr val="0D4370"/>
                </a:solidFill>
                <a:effectLst/>
                <a:uLnTx/>
                <a:uFillTx/>
                <a:latin typeface="SVN-Newton" panose="02040603050506020204" pitchFamily="18" charset="0"/>
                <a:ea typeface="+mn-ea"/>
                <a:cs typeface="+mn-cs"/>
              </a:rPr>
              <a:t>0905919065  (Linh)</a:t>
            </a:r>
            <a:endParaRPr kumimoji="0" lang="en-US" sz="2000" b="1" i="0" u="none" strike="noStrike" kern="1200" cap="none" spc="0" normalizeH="0" baseline="0" noProof="0" dirty="0">
              <a:ln>
                <a:noFill/>
              </a:ln>
              <a:solidFill>
                <a:srgbClr val="0D4370"/>
              </a:solidFill>
              <a:effectLst/>
              <a:uLnTx/>
              <a:uFillTx/>
              <a:latin typeface="SVN-Newton" panose="02040603050506020204" pitchFamily="18" charset="0"/>
              <a:ea typeface="+mn-ea"/>
              <a:cs typeface="Times New Roman" panose="02020603050405020304" pitchFamily="18" charset="0"/>
            </a:endParaRPr>
          </a:p>
        </p:txBody>
      </p:sp>
      <p:pic>
        <p:nvPicPr>
          <p:cNvPr id="3" name="Picture 2">
            <a:extLst>
              <a:ext uri="{FF2B5EF4-FFF2-40B4-BE49-F238E27FC236}">
                <a16:creationId xmlns:a16="http://schemas.microsoft.com/office/drawing/2014/main" id="{19C5B632-DDEE-5BD2-0146-BC8E014FF886}"/>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511478" y="8204200"/>
            <a:ext cx="1658442" cy="1701800"/>
          </a:xfrm>
          <a:prstGeom prst="rect">
            <a:avLst/>
          </a:prstGeom>
        </p:spPr>
      </p:pic>
      <p:pic>
        <p:nvPicPr>
          <p:cNvPr id="4" name="Hình ảnh 31">
            <a:extLst>
              <a:ext uri="{FF2B5EF4-FFF2-40B4-BE49-F238E27FC236}">
                <a16:creationId xmlns:a16="http://schemas.microsoft.com/office/drawing/2014/main" id="{5914E4A5-A45B-00C3-E50C-46ED8CEAB5CC}"/>
              </a:ext>
            </a:extLst>
          </p:cNvPr>
          <p:cNvPicPr>
            <a:picLocks noChangeAspect="1"/>
          </p:cNvPicPr>
          <p:nvPr userDrawn="1"/>
        </p:nvPicPr>
        <p:blipFill>
          <a:blip r:embed="rId12"/>
          <a:stretch>
            <a:fillRect/>
          </a:stretch>
        </p:blipFill>
        <p:spPr>
          <a:xfrm>
            <a:off x="-2554458" y="-541097"/>
            <a:ext cx="1804572" cy="2542252"/>
          </a:xfrm>
          <a:prstGeom prst="rect">
            <a:avLst/>
          </a:prstGeom>
        </p:spPr>
      </p:pic>
      <p:pic>
        <p:nvPicPr>
          <p:cNvPr id="5" name="Picture 4">
            <a:extLst>
              <a:ext uri="{FF2B5EF4-FFF2-40B4-BE49-F238E27FC236}">
                <a16:creationId xmlns:a16="http://schemas.microsoft.com/office/drawing/2014/main" id="{951AAE2E-7357-407C-FF3A-262AFD67C057}"/>
              </a:ext>
            </a:extLst>
          </p:cNvPr>
          <p:cNvPicPr>
            <a:picLocks noChangeAspect="1"/>
          </p:cNvPicPr>
          <p:nvPr userDrawn="1"/>
        </p:nvPicPr>
        <p:blipFill>
          <a:blip r:embed="rId13"/>
          <a:stretch>
            <a:fillRect/>
          </a:stretch>
        </p:blipFill>
        <p:spPr>
          <a:xfrm>
            <a:off x="11115551" y="1"/>
            <a:ext cx="1249788" cy="499915"/>
          </a:xfrm>
          <a:prstGeom prst="rect">
            <a:avLst/>
          </a:prstGeom>
        </p:spPr>
      </p:pic>
      <p:pic>
        <p:nvPicPr>
          <p:cNvPr id="6" name="Picture 5">
            <a:extLst>
              <a:ext uri="{FF2B5EF4-FFF2-40B4-BE49-F238E27FC236}">
                <a16:creationId xmlns:a16="http://schemas.microsoft.com/office/drawing/2014/main" id="{BA214639-BAC0-9D45-B749-59EB81B78A86}"/>
              </a:ext>
            </a:extLst>
          </p:cNvPr>
          <p:cNvPicPr>
            <a:picLocks noChangeAspect="1"/>
          </p:cNvPicPr>
          <p:nvPr userDrawn="1"/>
        </p:nvPicPr>
        <p:blipFill>
          <a:blip r:embed="rId14"/>
          <a:stretch>
            <a:fillRect/>
          </a:stretch>
        </p:blipFill>
        <p:spPr>
          <a:xfrm>
            <a:off x="-23255" y="6464110"/>
            <a:ext cx="1450974" cy="499915"/>
          </a:xfrm>
          <a:prstGeom prst="rect">
            <a:avLst/>
          </a:prstGeom>
        </p:spPr>
      </p:pic>
    </p:spTree>
    <p:extLst>
      <p:ext uri="{BB962C8B-B14F-4D97-AF65-F5344CB8AC3E}">
        <p14:creationId xmlns:p14="http://schemas.microsoft.com/office/powerpoint/2010/main" val="57814025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3.png"/><Relationship Id="rId7" Type="http://schemas.openxmlformats.org/officeDocument/2006/relationships/image" Target="../media/image29.pn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audio" Target="../media/audio2.wav"/><Relationship Id="rId7" Type="http://schemas.openxmlformats.org/officeDocument/2006/relationships/image" Target="../media/image35.png"/><Relationship Id="rId2" Type="http://schemas.openxmlformats.org/officeDocument/2006/relationships/audio" Target="../media/audio1.wav"/><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21.jpeg"/><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7.xml"/><Relationship Id="rId7" Type="http://schemas.openxmlformats.org/officeDocument/2006/relationships/image" Target="../media/image41.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0.png"/><Relationship Id="rId5" Type="http://schemas.openxmlformats.org/officeDocument/2006/relationships/image" Target="../media/image20.png"/><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0.png"/><Relationship Id="rId5" Type="http://schemas.openxmlformats.org/officeDocument/2006/relationships/image" Target="../media/image20.png"/><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19.png"/><Relationship Id="rId5" Type="http://schemas.openxmlformats.org/officeDocument/2006/relationships/image" Target="../media/image3.pn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1.jpeg"/><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7.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3.xml"/><Relationship Id="rId7" Type="http://schemas.openxmlformats.org/officeDocument/2006/relationships/image" Target="../media/image25.png"/><Relationship Id="rId2" Type="http://schemas.microsoft.com/office/2007/relationships/media" Target="../media/media2.mp3"/><Relationship Id="rId1" Type="http://schemas.openxmlformats.org/officeDocument/2006/relationships/audio" Target="NULL" TargetMode="Externa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image" Target="../media/image25.png"/><Relationship Id="rId2" Type="http://schemas.microsoft.com/office/2007/relationships/media" Target="../media/media2.mp3"/><Relationship Id="rId1" Type="http://schemas.openxmlformats.org/officeDocument/2006/relationships/audio" Target="NULL" TargetMode="External"/><Relationship Id="rId6" Type="http://schemas.openxmlformats.org/officeDocument/2006/relationships/image" Target="../media/image24.png"/><Relationship Id="rId5" Type="http://schemas.openxmlformats.org/officeDocument/2006/relationships/image" Target="../media/image27.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5.png"/><Relationship Id="rId2" Type="http://schemas.microsoft.com/office/2007/relationships/media" Target="../media/media2.mp3"/><Relationship Id="rId1" Type="http://schemas.openxmlformats.org/officeDocument/2006/relationships/audio" Target="NULL" TargetMode="External"/><Relationship Id="rId6" Type="http://schemas.openxmlformats.org/officeDocument/2006/relationships/image" Target="../media/image24.png"/><Relationship Id="rId5" Type="http://schemas.openxmlformats.org/officeDocument/2006/relationships/image" Target="../media/image29.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3.xml"/><Relationship Id="rId7" Type="http://schemas.openxmlformats.org/officeDocument/2006/relationships/image" Target="../media/image25.png"/><Relationship Id="rId2" Type="http://schemas.microsoft.com/office/2007/relationships/media" Target="../media/media2.mp3"/><Relationship Id="rId1" Type="http://schemas.openxmlformats.org/officeDocument/2006/relationships/audio" Target="NULL" TargetMode="External"/><Relationship Id="rId6" Type="http://schemas.openxmlformats.org/officeDocument/2006/relationships/image" Target="../media/image24.png"/><Relationship Id="rId5" Type="http://schemas.openxmlformats.org/officeDocument/2006/relationships/image" Target="../media/image31.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983DB-E1B8-98A8-DBD4-EADA32DC48A0}"/>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2E8C0D65-CA98-44A0-A877-A1B0DE5566D4}"/>
              </a:ext>
            </a:extLst>
          </p:cNvPr>
          <p:cNvPicPr>
            <a:picLocks noChangeAspect="1"/>
          </p:cNvPicPr>
          <p:nvPr/>
        </p:nvPicPr>
        <p:blipFill>
          <a:blip r:embed="rId2"/>
          <a:stretch>
            <a:fillRect/>
          </a:stretch>
        </p:blipFill>
        <p:spPr>
          <a:xfrm>
            <a:off x="0" y="0"/>
            <a:ext cx="12192000" cy="6857999"/>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76200"/>
            <a:ext cx="1600200" cy="1600200"/>
          </a:xfrm>
          <a:prstGeom prst="rect">
            <a:avLst/>
          </a:prstGeom>
        </p:spPr>
      </p:pic>
    </p:spTree>
    <p:extLst>
      <p:ext uri="{BB962C8B-B14F-4D97-AF65-F5344CB8AC3E}">
        <p14:creationId xmlns:p14="http://schemas.microsoft.com/office/powerpoint/2010/main" val="229111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AE7727-C098-A050-9FF3-0DA158AB6506}"/>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29411" t="77633" r="60033" b="-110"/>
          <a:stretch/>
        </p:blipFill>
        <p:spPr>
          <a:xfrm>
            <a:off x="49943" y="-228600"/>
            <a:ext cx="1409702" cy="1174750"/>
          </a:xfrm>
          <a:prstGeom prst="rect">
            <a:avLst/>
          </a:prstGeom>
        </p:spPr>
      </p:pic>
      <p:pic>
        <p:nvPicPr>
          <p:cNvPr id="3" name="Picture 2">
            <a:extLst>
              <a:ext uri="{FF2B5EF4-FFF2-40B4-BE49-F238E27FC236}">
                <a16:creationId xmlns:a16="http://schemas.microsoft.com/office/drawing/2014/main" id="{D4C8FE4A-CC35-8FBB-D88F-A787F163C9B9}"/>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52780" t="81288" r="36664" b="-3765"/>
          <a:stretch/>
        </p:blipFill>
        <p:spPr>
          <a:xfrm flipH="1">
            <a:off x="10818337" y="47968"/>
            <a:ext cx="1409702" cy="1174750"/>
          </a:xfrm>
          <a:prstGeom prst="rect">
            <a:avLst/>
          </a:prstGeom>
        </p:spPr>
      </p:pic>
      <p:grpSp>
        <p:nvGrpSpPr>
          <p:cNvPr id="4" name="Group 3">
            <a:extLst>
              <a:ext uri="{FF2B5EF4-FFF2-40B4-BE49-F238E27FC236}">
                <a16:creationId xmlns:a16="http://schemas.microsoft.com/office/drawing/2014/main" id="{CCBF148B-CD2B-2690-F335-77B6949019E1}"/>
              </a:ext>
            </a:extLst>
          </p:cNvPr>
          <p:cNvGrpSpPr/>
          <p:nvPr/>
        </p:nvGrpSpPr>
        <p:grpSpPr>
          <a:xfrm>
            <a:off x="1525150" y="249304"/>
            <a:ext cx="9274137" cy="1174750"/>
            <a:chOff x="527478" y="358775"/>
            <a:chExt cx="11353800" cy="1174750"/>
          </a:xfrm>
        </p:grpSpPr>
        <p:sp>
          <p:nvSpPr>
            <p:cNvPr id="5" name="Rectangle: Rounded Corners 4">
              <a:extLst>
                <a:ext uri="{FF2B5EF4-FFF2-40B4-BE49-F238E27FC236}">
                  <a16:creationId xmlns:a16="http://schemas.microsoft.com/office/drawing/2014/main" id="{D0C6D115-A735-7FBC-E658-85C4A559ECA2}"/>
                </a:ext>
              </a:extLst>
            </p:cNvPr>
            <p:cNvSpPr/>
            <p:nvPr/>
          </p:nvSpPr>
          <p:spPr>
            <a:xfrm>
              <a:off x="527478" y="358775"/>
              <a:ext cx="11353800" cy="1174750"/>
            </a:xfrm>
            <a:custGeom>
              <a:avLst/>
              <a:gdLst>
                <a:gd name="connsiteX0" fmla="*/ 0 w 11353800"/>
                <a:gd name="connsiteY0" fmla="*/ 77475 h 1174750"/>
                <a:gd name="connsiteX1" fmla="*/ 77475 w 11353800"/>
                <a:gd name="connsiteY1" fmla="*/ 0 h 1174750"/>
                <a:gd name="connsiteX2" fmla="*/ 777403 w 11353800"/>
                <a:gd name="connsiteY2" fmla="*/ 0 h 1174750"/>
                <a:gd name="connsiteX3" fmla="*/ 1253354 w 11353800"/>
                <a:gd name="connsiteY3" fmla="*/ 0 h 1174750"/>
                <a:gd name="connsiteX4" fmla="*/ 2177259 w 11353800"/>
                <a:gd name="connsiteY4" fmla="*/ 0 h 1174750"/>
                <a:gd name="connsiteX5" fmla="*/ 2989176 w 11353800"/>
                <a:gd name="connsiteY5" fmla="*/ 0 h 1174750"/>
                <a:gd name="connsiteX6" fmla="*/ 3577116 w 11353800"/>
                <a:gd name="connsiteY6" fmla="*/ 0 h 1174750"/>
                <a:gd name="connsiteX7" fmla="*/ 4277044 w 11353800"/>
                <a:gd name="connsiteY7" fmla="*/ 0 h 1174750"/>
                <a:gd name="connsiteX8" fmla="*/ 5200949 w 11353800"/>
                <a:gd name="connsiteY8" fmla="*/ 0 h 1174750"/>
                <a:gd name="connsiteX9" fmla="*/ 6124854 w 11353800"/>
                <a:gd name="connsiteY9" fmla="*/ 0 h 1174750"/>
                <a:gd name="connsiteX10" fmla="*/ 6936771 w 11353800"/>
                <a:gd name="connsiteY10" fmla="*/ 0 h 1174750"/>
                <a:gd name="connsiteX11" fmla="*/ 7860676 w 11353800"/>
                <a:gd name="connsiteY11" fmla="*/ 0 h 1174750"/>
                <a:gd name="connsiteX12" fmla="*/ 8448615 w 11353800"/>
                <a:gd name="connsiteY12" fmla="*/ 0 h 1174750"/>
                <a:gd name="connsiteX13" fmla="*/ 9372521 w 11353800"/>
                <a:gd name="connsiteY13" fmla="*/ 0 h 1174750"/>
                <a:gd name="connsiteX14" fmla="*/ 9960460 w 11353800"/>
                <a:gd name="connsiteY14" fmla="*/ 0 h 1174750"/>
                <a:gd name="connsiteX15" fmla="*/ 10660388 w 11353800"/>
                <a:gd name="connsiteY15" fmla="*/ 0 h 1174750"/>
                <a:gd name="connsiteX16" fmla="*/ 11276325 w 11353800"/>
                <a:gd name="connsiteY16" fmla="*/ 0 h 1174750"/>
                <a:gd name="connsiteX17" fmla="*/ 11353800 w 11353800"/>
                <a:gd name="connsiteY17" fmla="*/ 77475 h 1174750"/>
                <a:gd name="connsiteX18" fmla="*/ 11353800 w 11353800"/>
                <a:gd name="connsiteY18" fmla="*/ 607771 h 1174750"/>
                <a:gd name="connsiteX19" fmla="*/ 11353800 w 11353800"/>
                <a:gd name="connsiteY19" fmla="*/ 1097275 h 1174750"/>
                <a:gd name="connsiteX20" fmla="*/ 11276325 w 11353800"/>
                <a:gd name="connsiteY20" fmla="*/ 1174750 h 1174750"/>
                <a:gd name="connsiteX21" fmla="*/ 10912362 w 11353800"/>
                <a:gd name="connsiteY21" fmla="*/ 1174750 h 1174750"/>
                <a:gd name="connsiteX22" fmla="*/ 10324423 w 11353800"/>
                <a:gd name="connsiteY22" fmla="*/ 1174750 h 1174750"/>
                <a:gd name="connsiteX23" fmla="*/ 9848472 w 11353800"/>
                <a:gd name="connsiteY23" fmla="*/ 1174750 h 1174750"/>
                <a:gd name="connsiteX24" fmla="*/ 9148544 w 11353800"/>
                <a:gd name="connsiteY24" fmla="*/ 1174750 h 1174750"/>
                <a:gd name="connsiteX25" fmla="*/ 8448615 w 11353800"/>
                <a:gd name="connsiteY25" fmla="*/ 1174750 h 1174750"/>
                <a:gd name="connsiteX26" fmla="*/ 7748687 w 11353800"/>
                <a:gd name="connsiteY26" fmla="*/ 1174750 h 1174750"/>
                <a:gd name="connsiteX27" fmla="*/ 7384725 w 11353800"/>
                <a:gd name="connsiteY27" fmla="*/ 1174750 h 1174750"/>
                <a:gd name="connsiteX28" fmla="*/ 6908774 w 11353800"/>
                <a:gd name="connsiteY28" fmla="*/ 1174750 h 1174750"/>
                <a:gd name="connsiteX29" fmla="*/ 5984868 w 11353800"/>
                <a:gd name="connsiteY29" fmla="*/ 1174750 h 1174750"/>
                <a:gd name="connsiteX30" fmla="*/ 5284940 w 11353800"/>
                <a:gd name="connsiteY30" fmla="*/ 1174750 h 1174750"/>
                <a:gd name="connsiteX31" fmla="*/ 4361035 w 11353800"/>
                <a:gd name="connsiteY31" fmla="*/ 1174750 h 1174750"/>
                <a:gd name="connsiteX32" fmla="*/ 3885084 w 11353800"/>
                <a:gd name="connsiteY32" fmla="*/ 1174750 h 1174750"/>
                <a:gd name="connsiteX33" fmla="*/ 3521121 w 11353800"/>
                <a:gd name="connsiteY33" fmla="*/ 1174750 h 1174750"/>
                <a:gd name="connsiteX34" fmla="*/ 3045170 w 11353800"/>
                <a:gd name="connsiteY34" fmla="*/ 1174750 h 1174750"/>
                <a:gd name="connsiteX35" fmla="*/ 2121265 w 11353800"/>
                <a:gd name="connsiteY35" fmla="*/ 1174750 h 1174750"/>
                <a:gd name="connsiteX36" fmla="*/ 1197360 w 11353800"/>
                <a:gd name="connsiteY36" fmla="*/ 1174750 h 1174750"/>
                <a:gd name="connsiteX37" fmla="*/ 77475 w 11353800"/>
                <a:gd name="connsiteY37" fmla="*/ 1174750 h 1174750"/>
                <a:gd name="connsiteX38" fmla="*/ 0 w 11353800"/>
                <a:gd name="connsiteY38" fmla="*/ 1097275 h 1174750"/>
                <a:gd name="connsiteX39" fmla="*/ 0 w 11353800"/>
                <a:gd name="connsiteY39" fmla="*/ 617969 h 1174750"/>
                <a:gd name="connsiteX40" fmla="*/ 0 w 11353800"/>
                <a:gd name="connsiteY40" fmla="*/ 77475 h 117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353800" h="1174750" fill="none" extrusionOk="0">
                  <a:moveTo>
                    <a:pt x="0" y="77475"/>
                  </a:moveTo>
                  <a:cubicBezTo>
                    <a:pt x="2288" y="36786"/>
                    <a:pt x="26822" y="6461"/>
                    <a:pt x="77475" y="0"/>
                  </a:cubicBezTo>
                  <a:cubicBezTo>
                    <a:pt x="271078" y="17720"/>
                    <a:pt x="628774" y="1886"/>
                    <a:pt x="777403" y="0"/>
                  </a:cubicBezTo>
                  <a:cubicBezTo>
                    <a:pt x="926032" y="-1886"/>
                    <a:pt x="1114842" y="17176"/>
                    <a:pt x="1253354" y="0"/>
                  </a:cubicBezTo>
                  <a:cubicBezTo>
                    <a:pt x="1391866" y="-17176"/>
                    <a:pt x="1926857" y="-682"/>
                    <a:pt x="2177259" y="0"/>
                  </a:cubicBezTo>
                  <a:cubicBezTo>
                    <a:pt x="2427662" y="682"/>
                    <a:pt x="2718445" y="4810"/>
                    <a:pt x="2989176" y="0"/>
                  </a:cubicBezTo>
                  <a:cubicBezTo>
                    <a:pt x="3259907" y="-4810"/>
                    <a:pt x="3330863" y="-13983"/>
                    <a:pt x="3577116" y="0"/>
                  </a:cubicBezTo>
                  <a:cubicBezTo>
                    <a:pt x="3823369" y="13983"/>
                    <a:pt x="4037278" y="-14834"/>
                    <a:pt x="4277044" y="0"/>
                  </a:cubicBezTo>
                  <a:cubicBezTo>
                    <a:pt x="4516810" y="14834"/>
                    <a:pt x="4783598" y="1296"/>
                    <a:pt x="5200949" y="0"/>
                  </a:cubicBezTo>
                  <a:cubicBezTo>
                    <a:pt x="5618300" y="-1296"/>
                    <a:pt x="5667869" y="3013"/>
                    <a:pt x="6124854" y="0"/>
                  </a:cubicBezTo>
                  <a:cubicBezTo>
                    <a:pt x="6581839" y="-3013"/>
                    <a:pt x="6662479" y="852"/>
                    <a:pt x="6936771" y="0"/>
                  </a:cubicBezTo>
                  <a:cubicBezTo>
                    <a:pt x="7211063" y="-852"/>
                    <a:pt x="7590957" y="-3214"/>
                    <a:pt x="7860676" y="0"/>
                  </a:cubicBezTo>
                  <a:cubicBezTo>
                    <a:pt x="8130396" y="3214"/>
                    <a:pt x="8276702" y="-18527"/>
                    <a:pt x="8448615" y="0"/>
                  </a:cubicBezTo>
                  <a:cubicBezTo>
                    <a:pt x="8620528" y="18527"/>
                    <a:pt x="9150155" y="11530"/>
                    <a:pt x="9372521" y="0"/>
                  </a:cubicBezTo>
                  <a:cubicBezTo>
                    <a:pt x="9594887" y="-11530"/>
                    <a:pt x="9740222" y="7937"/>
                    <a:pt x="9960460" y="0"/>
                  </a:cubicBezTo>
                  <a:cubicBezTo>
                    <a:pt x="10180698" y="-7937"/>
                    <a:pt x="10513657" y="-19607"/>
                    <a:pt x="10660388" y="0"/>
                  </a:cubicBezTo>
                  <a:cubicBezTo>
                    <a:pt x="10807119" y="19607"/>
                    <a:pt x="10980162" y="225"/>
                    <a:pt x="11276325" y="0"/>
                  </a:cubicBezTo>
                  <a:cubicBezTo>
                    <a:pt x="11316342" y="-461"/>
                    <a:pt x="11362280" y="29332"/>
                    <a:pt x="11353800" y="77475"/>
                  </a:cubicBezTo>
                  <a:cubicBezTo>
                    <a:pt x="11342023" y="259726"/>
                    <a:pt x="11335809" y="372114"/>
                    <a:pt x="11353800" y="607771"/>
                  </a:cubicBezTo>
                  <a:cubicBezTo>
                    <a:pt x="11371791" y="843428"/>
                    <a:pt x="11342774" y="877372"/>
                    <a:pt x="11353800" y="1097275"/>
                  </a:cubicBezTo>
                  <a:cubicBezTo>
                    <a:pt x="11356068" y="1141416"/>
                    <a:pt x="11321116" y="1181019"/>
                    <a:pt x="11276325" y="1174750"/>
                  </a:cubicBezTo>
                  <a:cubicBezTo>
                    <a:pt x="11143061" y="1175199"/>
                    <a:pt x="10985551" y="1172428"/>
                    <a:pt x="10912362" y="1174750"/>
                  </a:cubicBezTo>
                  <a:cubicBezTo>
                    <a:pt x="10839173" y="1177072"/>
                    <a:pt x="10499540" y="1171940"/>
                    <a:pt x="10324423" y="1174750"/>
                  </a:cubicBezTo>
                  <a:cubicBezTo>
                    <a:pt x="10149306" y="1177560"/>
                    <a:pt x="10026190" y="1156183"/>
                    <a:pt x="9848472" y="1174750"/>
                  </a:cubicBezTo>
                  <a:cubicBezTo>
                    <a:pt x="9670754" y="1193317"/>
                    <a:pt x="9456926" y="1204036"/>
                    <a:pt x="9148544" y="1174750"/>
                  </a:cubicBezTo>
                  <a:cubicBezTo>
                    <a:pt x="8840162" y="1145464"/>
                    <a:pt x="8644965" y="1201335"/>
                    <a:pt x="8448615" y="1174750"/>
                  </a:cubicBezTo>
                  <a:cubicBezTo>
                    <a:pt x="8252265" y="1148165"/>
                    <a:pt x="7915316" y="1142841"/>
                    <a:pt x="7748687" y="1174750"/>
                  </a:cubicBezTo>
                  <a:cubicBezTo>
                    <a:pt x="7582058" y="1206659"/>
                    <a:pt x="7486232" y="1161123"/>
                    <a:pt x="7384725" y="1174750"/>
                  </a:cubicBezTo>
                  <a:cubicBezTo>
                    <a:pt x="7283218" y="1188377"/>
                    <a:pt x="7048712" y="1196996"/>
                    <a:pt x="6908774" y="1174750"/>
                  </a:cubicBezTo>
                  <a:cubicBezTo>
                    <a:pt x="6768836" y="1152504"/>
                    <a:pt x="6430424" y="1216373"/>
                    <a:pt x="5984868" y="1174750"/>
                  </a:cubicBezTo>
                  <a:cubicBezTo>
                    <a:pt x="5539312" y="1133127"/>
                    <a:pt x="5576963" y="1152371"/>
                    <a:pt x="5284940" y="1174750"/>
                  </a:cubicBezTo>
                  <a:cubicBezTo>
                    <a:pt x="4992917" y="1197129"/>
                    <a:pt x="4693304" y="1159445"/>
                    <a:pt x="4361035" y="1174750"/>
                  </a:cubicBezTo>
                  <a:cubicBezTo>
                    <a:pt x="4028766" y="1190055"/>
                    <a:pt x="3992649" y="1191717"/>
                    <a:pt x="3885084" y="1174750"/>
                  </a:cubicBezTo>
                  <a:cubicBezTo>
                    <a:pt x="3777519" y="1157783"/>
                    <a:pt x="3596490" y="1156669"/>
                    <a:pt x="3521121" y="1174750"/>
                  </a:cubicBezTo>
                  <a:cubicBezTo>
                    <a:pt x="3445752" y="1192831"/>
                    <a:pt x="3267739" y="1178971"/>
                    <a:pt x="3045170" y="1174750"/>
                  </a:cubicBezTo>
                  <a:cubicBezTo>
                    <a:pt x="2822601" y="1170529"/>
                    <a:pt x="2491112" y="1142040"/>
                    <a:pt x="2121265" y="1174750"/>
                  </a:cubicBezTo>
                  <a:cubicBezTo>
                    <a:pt x="1751418" y="1207460"/>
                    <a:pt x="1406295" y="1216162"/>
                    <a:pt x="1197360" y="1174750"/>
                  </a:cubicBezTo>
                  <a:cubicBezTo>
                    <a:pt x="988426" y="1133338"/>
                    <a:pt x="625256" y="1158341"/>
                    <a:pt x="77475" y="1174750"/>
                  </a:cubicBezTo>
                  <a:cubicBezTo>
                    <a:pt x="26068" y="1176397"/>
                    <a:pt x="605" y="1148365"/>
                    <a:pt x="0" y="1097275"/>
                  </a:cubicBezTo>
                  <a:cubicBezTo>
                    <a:pt x="-22549" y="950394"/>
                    <a:pt x="-7944" y="738965"/>
                    <a:pt x="0" y="617969"/>
                  </a:cubicBezTo>
                  <a:cubicBezTo>
                    <a:pt x="7944" y="496973"/>
                    <a:pt x="12715" y="256596"/>
                    <a:pt x="0" y="77475"/>
                  </a:cubicBezTo>
                  <a:close/>
                </a:path>
                <a:path w="11353800" h="1174750" stroke="0" extrusionOk="0">
                  <a:moveTo>
                    <a:pt x="0" y="77475"/>
                  </a:moveTo>
                  <a:cubicBezTo>
                    <a:pt x="-4632" y="40616"/>
                    <a:pt x="33132" y="-87"/>
                    <a:pt x="77475" y="0"/>
                  </a:cubicBezTo>
                  <a:cubicBezTo>
                    <a:pt x="504761" y="24222"/>
                    <a:pt x="664467" y="45474"/>
                    <a:pt x="1001380" y="0"/>
                  </a:cubicBezTo>
                  <a:cubicBezTo>
                    <a:pt x="1338294" y="-45474"/>
                    <a:pt x="1306296" y="28552"/>
                    <a:pt x="1589320" y="0"/>
                  </a:cubicBezTo>
                  <a:cubicBezTo>
                    <a:pt x="1872344" y="-28552"/>
                    <a:pt x="2300305" y="13004"/>
                    <a:pt x="2513225" y="0"/>
                  </a:cubicBezTo>
                  <a:cubicBezTo>
                    <a:pt x="2726145" y="-13004"/>
                    <a:pt x="2738351" y="-547"/>
                    <a:pt x="2877188" y="0"/>
                  </a:cubicBezTo>
                  <a:cubicBezTo>
                    <a:pt x="3016025" y="547"/>
                    <a:pt x="3234264" y="3498"/>
                    <a:pt x="3353139" y="0"/>
                  </a:cubicBezTo>
                  <a:cubicBezTo>
                    <a:pt x="3472014" y="-3498"/>
                    <a:pt x="3708351" y="19616"/>
                    <a:pt x="3941078" y="0"/>
                  </a:cubicBezTo>
                  <a:cubicBezTo>
                    <a:pt x="4173805" y="-19616"/>
                    <a:pt x="4162618" y="13644"/>
                    <a:pt x="4305041" y="0"/>
                  </a:cubicBezTo>
                  <a:cubicBezTo>
                    <a:pt x="4447464" y="-13644"/>
                    <a:pt x="4676328" y="2169"/>
                    <a:pt x="4892980" y="0"/>
                  </a:cubicBezTo>
                  <a:cubicBezTo>
                    <a:pt x="5109632" y="-2169"/>
                    <a:pt x="5409597" y="5790"/>
                    <a:pt x="5704897" y="0"/>
                  </a:cubicBezTo>
                  <a:cubicBezTo>
                    <a:pt x="6000197" y="-5790"/>
                    <a:pt x="5993892" y="-10921"/>
                    <a:pt x="6068860" y="0"/>
                  </a:cubicBezTo>
                  <a:cubicBezTo>
                    <a:pt x="6143828" y="10921"/>
                    <a:pt x="6625049" y="-3728"/>
                    <a:pt x="6768788" y="0"/>
                  </a:cubicBezTo>
                  <a:cubicBezTo>
                    <a:pt x="6912527" y="3728"/>
                    <a:pt x="7227760" y="13984"/>
                    <a:pt x="7356727" y="0"/>
                  </a:cubicBezTo>
                  <a:cubicBezTo>
                    <a:pt x="7485694" y="-13984"/>
                    <a:pt x="7969845" y="-27762"/>
                    <a:pt x="8168644" y="0"/>
                  </a:cubicBezTo>
                  <a:cubicBezTo>
                    <a:pt x="8367443" y="27762"/>
                    <a:pt x="8498931" y="14103"/>
                    <a:pt x="8756584" y="0"/>
                  </a:cubicBezTo>
                  <a:cubicBezTo>
                    <a:pt x="9014237" y="-14103"/>
                    <a:pt x="9119088" y="3543"/>
                    <a:pt x="9456512" y="0"/>
                  </a:cubicBezTo>
                  <a:cubicBezTo>
                    <a:pt x="9793936" y="-3543"/>
                    <a:pt x="9744047" y="-21820"/>
                    <a:pt x="9932463" y="0"/>
                  </a:cubicBezTo>
                  <a:cubicBezTo>
                    <a:pt x="10120879" y="21820"/>
                    <a:pt x="10488662" y="-33941"/>
                    <a:pt x="10632391" y="0"/>
                  </a:cubicBezTo>
                  <a:cubicBezTo>
                    <a:pt x="10776120" y="33941"/>
                    <a:pt x="11115111" y="-9239"/>
                    <a:pt x="11276325" y="0"/>
                  </a:cubicBezTo>
                  <a:cubicBezTo>
                    <a:pt x="11328002" y="-87"/>
                    <a:pt x="11354115" y="32400"/>
                    <a:pt x="11353800" y="77475"/>
                  </a:cubicBezTo>
                  <a:cubicBezTo>
                    <a:pt x="11377176" y="303536"/>
                    <a:pt x="11379082" y="426117"/>
                    <a:pt x="11353800" y="607771"/>
                  </a:cubicBezTo>
                  <a:cubicBezTo>
                    <a:pt x="11328518" y="789425"/>
                    <a:pt x="11332073" y="890477"/>
                    <a:pt x="11353800" y="1097275"/>
                  </a:cubicBezTo>
                  <a:cubicBezTo>
                    <a:pt x="11359394" y="1135905"/>
                    <a:pt x="11322094" y="1174301"/>
                    <a:pt x="11276325" y="1174750"/>
                  </a:cubicBezTo>
                  <a:cubicBezTo>
                    <a:pt x="11131538" y="1184367"/>
                    <a:pt x="11035453" y="1184546"/>
                    <a:pt x="10912362" y="1174750"/>
                  </a:cubicBezTo>
                  <a:cubicBezTo>
                    <a:pt x="10789271" y="1164954"/>
                    <a:pt x="10475890" y="1203804"/>
                    <a:pt x="10100446" y="1174750"/>
                  </a:cubicBezTo>
                  <a:cubicBezTo>
                    <a:pt x="9725002" y="1145696"/>
                    <a:pt x="9716939" y="1166010"/>
                    <a:pt x="9512506" y="1174750"/>
                  </a:cubicBezTo>
                  <a:cubicBezTo>
                    <a:pt x="9308073" y="1183490"/>
                    <a:pt x="9140800" y="1143517"/>
                    <a:pt x="8812578" y="1174750"/>
                  </a:cubicBezTo>
                  <a:cubicBezTo>
                    <a:pt x="8484356" y="1205983"/>
                    <a:pt x="8329669" y="1163468"/>
                    <a:pt x="8112650" y="1174750"/>
                  </a:cubicBezTo>
                  <a:cubicBezTo>
                    <a:pt x="7895631" y="1186032"/>
                    <a:pt x="7494560" y="1170253"/>
                    <a:pt x="7300733" y="1174750"/>
                  </a:cubicBezTo>
                  <a:cubicBezTo>
                    <a:pt x="7106906" y="1179247"/>
                    <a:pt x="7004114" y="1194335"/>
                    <a:pt x="6824782" y="1174750"/>
                  </a:cubicBezTo>
                  <a:cubicBezTo>
                    <a:pt x="6645450" y="1155165"/>
                    <a:pt x="6280006" y="1200577"/>
                    <a:pt x="6012866" y="1174750"/>
                  </a:cubicBezTo>
                  <a:cubicBezTo>
                    <a:pt x="5745726" y="1148923"/>
                    <a:pt x="5645015" y="1140764"/>
                    <a:pt x="5312937" y="1174750"/>
                  </a:cubicBezTo>
                  <a:cubicBezTo>
                    <a:pt x="4980859" y="1208736"/>
                    <a:pt x="4928167" y="1146072"/>
                    <a:pt x="4613009" y="1174750"/>
                  </a:cubicBezTo>
                  <a:cubicBezTo>
                    <a:pt x="4297851" y="1203428"/>
                    <a:pt x="3998972" y="1146669"/>
                    <a:pt x="3801093" y="1174750"/>
                  </a:cubicBezTo>
                  <a:cubicBezTo>
                    <a:pt x="3603214" y="1202831"/>
                    <a:pt x="3411804" y="1200924"/>
                    <a:pt x="3213153" y="1174750"/>
                  </a:cubicBezTo>
                  <a:cubicBezTo>
                    <a:pt x="3014502" y="1148576"/>
                    <a:pt x="2692647" y="1182799"/>
                    <a:pt x="2289248" y="1174750"/>
                  </a:cubicBezTo>
                  <a:cubicBezTo>
                    <a:pt x="1885850" y="1166701"/>
                    <a:pt x="2018584" y="1166875"/>
                    <a:pt x="1813297" y="1174750"/>
                  </a:cubicBezTo>
                  <a:cubicBezTo>
                    <a:pt x="1608010" y="1182625"/>
                    <a:pt x="1082943" y="1205078"/>
                    <a:pt x="889392" y="1174750"/>
                  </a:cubicBezTo>
                  <a:cubicBezTo>
                    <a:pt x="695842" y="1144422"/>
                    <a:pt x="450586" y="1207207"/>
                    <a:pt x="77475" y="1174750"/>
                  </a:cubicBezTo>
                  <a:cubicBezTo>
                    <a:pt x="37203" y="1171400"/>
                    <a:pt x="-9493" y="1141799"/>
                    <a:pt x="0" y="1097275"/>
                  </a:cubicBezTo>
                  <a:cubicBezTo>
                    <a:pt x="-22807" y="875399"/>
                    <a:pt x="-2953" y="847305"/>
                    <a:pt x="0" y="607771"/>
                  </a:cubicBezTo>
                  <a:cubicBezTo>
                    <a:pt x="2953" y="368237"/>
                    <a:pt x="18784" y="267622"/>
                    <a:pt x="0" y="77475"/>
                  </a:cubicBezTo>
                  <a:close/>
                </a:path>
              </a:pathLst>
            </a:custGeom>
            <a:solidFill>
              <a:schemeClr val="bg1">
                <a:alpha val="85000"/>
              </a:schemeClr>
            </a:solidFill>
            <a:ln w="38100">
              <a:solidFill>
                <a:schemeClr val="tx2">
                  <a:lumMod val="75000"/>
                </a:schemeClr>
              </a:solidFill>
              <a:extLst>
                <a:ext uri="{C807C97D-BFC1-408E-A445-0C87EB9F89A2}">
                  <ask:lineSketchStyleProps xmlns:ask="http://schemas.microsoft.com/office/drawing/2018/sketchyshapes" sd="3802672123">
                    <a:prstGeom prst="roundRect">
                      <a:avLst>
                        <a:gd name="adj" fmla="val 6595"/>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9Slide02 Noi dung dai"/>
                <a:ea typeface="+mn-ea"/>
                <a:cs typeface="+mn-cs"/>
              </a:endParaRPr>
            </a:p>
          </p:txBody>
        </p:sp>
        <p:sp>
          <p:nvSpPr>
            <p:cNvPr id="6" name="TextBox 5">
              <a:extLst>
                <a:ext uri="{FF2B5EF4-FFF2-40B4-BE49-F238E27FC236}">
                  <a16:creationId xmlns:a16="http://schemas.microsoft.com/office/drawing/2014/main" id="{F14DCEA2-964E-1600-CF63-FA57A35EAB83}"/>
                </a:ext>
              </a:extLst>
            </p:cNvPr>
            <p:cNvSpPr txBox="1"/>
            <p:nvPr/>
          </p:nvSpPr>
          <p:spPr>
            <a:xfrm>
              <a:off x="923837" y="419100"/>
              <a:ext cx="10668000" cy="984885"/>
            </a:xfrm>
            <a:prstGeom prst="rect">
              <a:avLst/>
            </a:prstGeom>
            <a:noFill/>
          </p:spPr>
          <p:txBody>
            <a:bodyPr wrap="square" lIns="0" tIns="0" rIns="0" bIns="0" rtlCol="0">
              <a:spAutoFit/>
            </a:bodyPr>
            <a:lstStyle/>
            <a:p>
              <a:pPr algn="ctr"/>
              <a:r>
                <a:rPr lang="vi-VN" sz="3200" b="1" dirty="0">
                  <a:solidFill>
                    <a:schemeClr val="accent2">
                      <a:lumMod val="50000"/>
                    </a:schemeClr>
                  </a:solidFill>
                  <a:latin typeface="Cambria" panose="02040503050406030204" pitchFamily="18" charset="0"/>
                  <a:ea typeface="Cambria" panose="02040503050406030204" pitchFamily="18" charset="0"/>
                </a:rPr>
                <a:t>T</a:t>
              </a:r>
              <a:r>
                <a:rPr lang="en-US" sz="3200" b="1" dirty="0" err="1">
                  <a:solidFill>
                    <a:schemeClr val="accent2">
                      <a:lumMod val="50000"/>
                    </a:schemeClr>
                  </a:solidFill>
                  <a:latin typeface="Cambria" panose="02040503050406030204" pitchFamily="18" charset="0"/>
                  <a:ea typeface="Cambria" panose="02040503050406030204" pitchFamily="18" charset="0"/>
                </a:rPr>
                <a:t>ên</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các</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chủ</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điểm</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đã</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học</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trong</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i="1" dirty="0" err="1">
                  <a:solidFill>
                    <a:schemeClr val="accent2">
                      <a:lumMod val="50000"/>
                    </a:schemeClr>
                  </a:solidFill>
                  <a:latin typeface="Cambria" panose="02040503050406030204" pitchFamily="18" charset="0"/>
                  <a:ea typeface="Cambria" panose="02040503050406030204" pitchFamily="18" charset="0"/>
                </a:rPr>
                <a:t>Tiếng</a:t>
              </a:r>
              <a:r>
                <a:rPr lang="en-US" sz="3200" b="1" i="1" dirty="0">
                  <a:solidFill>
                    <a:schemeClr val="accent2">
                      <a:lumMod val="50000"/>
                    </a:schemeClr>
                  </a:solidFill>
                  <a:latin typeface="Cambria" panose="02040503050406030204" pitchFamily="18" charset="0"/>
                  <a:ea typeface="Cambria" panose="02040503050406030204" pitchFamily="18" charset="0"/>
                </a:rPr>
                <a:t> Việt 5 </a:t>
              </a:r>
              <a:endParaRPr lang="vi-VN" sz="3200" b="1" i="1" dirty="0">
                <a:solidFill>
                  <a:schemeClr val="accent2">
                    <a:lumMod val="50000"/>
                  </a:schemeClr>
                </a:solidFill>
                <a:latin typeface="Cambria" panose="02040503050406030204" pitchFamily="18" charset="0"/>
                <a:ea typeface="Cambria" panose="02040503050406030204" pitchFamily="18" charset="0"/>
              </a:endParaRPr>
            </a:p>
            <a:p>
              <a:pPr algn="ctr"/>
              <a:r>
                <a:rPr lang="en-US" sz="3200" b="1" dirty="0">
                  <a:solidFill>
                    <a:schemeClr val="accent2">
                      <a:lumMod val="50000"/>
                    </a:schemeClr>
                  </a:solidFill>
                  <a:latin typeface="Cambria" panose="02040503050406030204" pitchFamily="18" charset="0"/>
                  <a:ea typeface="Cambria" panose="02040503050406030204" pitchFamily="18" charset="0"/>
                </a:rPr>
                <a:t>(</a:t>
              </a:r>
              <a:r>
                <a:rPr lang="en-US" sz="3200" b="1" dirty="0" err="1">
                  <a:solidFill>
                    <a:schemeClr val="accent2">
                      <a:lumMod val="50000"/>
                    </a:schemeClr>
                  </a:solidFill>
                  <a:latin typeface="Cambria" panose="02040503050406030204" pitchFamily="18" charset="0"/>
                  <a:ea typeface="Cambria" panose="02040503050406030204" pitchFamily="18" charset="0"/>
                </a:rPr>
                <a:t>tập</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một</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và</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tập</a:t>
              </a:r>
              <a:r>
                <a:rPr lang="en-US" sz="3200" b="1" dirty="0">
                  <a:solidFill>
                    <a:schemeClr val="accent2">
                      <a:lumMod val="50000"/>
                    </a:schemeClr>
                  </a:solidFill>
                  <a:latin typeface="Cambria" panose="02040503050406030204" pitchFamily="18" charset="0"/>
                  <a:ea typeface="Cambria" panose="02040503050406030204" pitchFamily="18" charset="0"/>
                </a:rPr>
                <a:t> </a:t>
              </a:r>
              <a:r>
                <a:rPr lang="en-US" sz="3200" b="1" dirty="0" err="1">
                  <a:solidFill>
                    <a:schemeClr val="accent2">
                      <a:lumMod val="50000"/>
                    </a:schemeClr>
                  </a:solidFill>
                  <a:latin typeface="Cambria" panose="02040503050406030204" pitchFamily="18" charset="0"/>
                  <a:ea typeface="Cambria" panose="02040503050406030204" pitchFamily="18" charset="0"/>
                </a:rPr>
                <a:t>hai</a:t>
              </a:r>
              <a:r>
                <a:rPr lang="en-US" sz="3200" b="1" dirty="0">
                  <a:solidFill>
                    <a:schemeClr val="accent2">
                      <a:lumMod val="50000"/>
                    </a:schemeClr>
                  </a:solidFill>
                  <a:latin typeface="Cambria" panose="02040503050406030204" pitchFamily="18" charset="0"/>
                  <a:ea typeface="Cambria" panose="02040503050406030204" pitchFamily="18" charset="0"/>
                </a:rPr>
                <a:t>).</a:t>
              </a:r>
            </a:p>
          </p:txBody>
        </p:sp>
      </p:grpSp>
      <p:pic>
        <p:nvPicPr>
          <p:cNvPr id="7" name="Picture 6">
            <a:extLst>
              <a:ext uri="{FF2B5EF4-FFF2-40B4-BE49-F238E27FC236}">
                <a16:creationId xmlns:a16="http://schemas.microsoft.com/office/drawing/2014/main" id="{5E83B774-5E37-C6A9-D369-97D663979C25}"/>
              </a:ext>
            </a:extLst>
          </p:cNvPr>
          <p:cNvPicPr>
            <a:picLocks noChangeAspect="1"/>
          </p:cNvPicPr>
          <p:nvPr/>
        </p:nvPicPr>
        <p:blipFill>
          <a:blip r:embed="rId3"/>
          <a:stretch>
            <a:fillRect/>
          </a:stretch>
        </p:blipFill>
        <p:spPr>
          <a:xfrm>
            <a:off x="665677" y="1555151"/>
            <a:ext cx="1830375" cy="2552719"/>
          </a:xfrm>
          <a:prstGeom prst="rect">
            <a:avLst/>
          </a:prstGeom>
        </p:spPr>
      </p:pic>
      <p:pic>
        <p:nvPicPr>
          <p:cNvPr id="8" name="Picture 7">
            <a:extLst>
              <a:ext uri="{FF2B5EF4-FFF2-40B4-BE49-F238E27FC236}">
                <a16:creationId xmlns:a16="http://schemas.microsoft.com/office/drawing/2014/main" id="{4EEB46D6-7428-2301-AAF3-AEC2C31CEC51}"/>
              </a:ext>
            </a:extLst>
          </p:cNvPr>
          <p:cNvPicPr>
            <a:picLocks noChangeAspect="1"/>
          </p:cNvPicPr>
          <p:nvPr/>
        </p:nvPicPr>
        <p:blipFill>
          <a:blip r:embed="rId4"/>
          <a:stretch>
            <a:fillRect/>
          </a:stretch>
        </p:blipFill>
        <p:spPr>
          <a:xfrm>
            <a:off x="3180277" y="1555151"/>
            <a:ext cx="1813603" cy="2552719"/>
          </a:xfrm>
          <a:prstGeom prst="rect">
            <a:avLst/>
          </a:prstGeom>
        </p:spPr>
      </p:pic>
      <p:pic>
        <p:nvPicPr>
          <p:cNvPr id="9" name="Picture 8">
            <a:extLst>
              <a:ext uri="{FF2B5EF4-FFF2-40B4-BE49-F238E27FC236}">
                <a16:creationId xmlns:a16="http://schemas.microsoft.com/office/drawing/2014/main" id="{EE5E6A2A-FB96-920D-DFE7-8CE2325DFEC9}"/>
              </a:ext>
            </a:extLst>
          </p:cNvPr>
          <p:cNvPicPr>
            <a:picLocks noChangeAspect="1"/>
          </p:cNvPicPr>
          <p:nvPr/>
        </p:nvPicPr>
        <p:blipFill>
          <a:blip r:embed="rId5"/>
          <a:stretch>
            <a:fillRect/>
          </a:stretch>
        </p:blipFill>
        <p:spPr>
          <a:xfrm>
            <a:off x="5923477" y="1555151"/>
            <a:ext cx="1830375" cy="2588908"/>
          </a:xfrm>
          <a:prstGeom prst="rect">
            <a:avLst/>
          </a:prstGeom>
        </p:spPr>
      </p:pic>
      <p:pic>
        <p:nvPicPr>
          <p:cNvPr id="10" name="Picture 9">
            <a:extLst>
              <a:ext uri="{FF2B5EF4-FFF2-40B4-BE49-F238E27FC236}">
                <a16:creationId xmlns:a16="http://schemas.microsoft.com/office/drawing/2014/main" id="{B904C1E1-1416-D392-707F-294733FA906D}"/>
              </a:ext>
            </a:extLst>
          </p:cNvPr>
          <p:cNvPicPr>
            <a:picLocks noChangeAspect="1"/>
          </p:cNvPicPr>
          <p:nvPr/>
        </p:nvPicPr>
        <p:blipFill>
          <a:blip r:embed="rId6"/>
          <a:stretch>
            <a:fillRect/>
          </a:stretch>
        </p:blipFill>
        <p:spPr>
          <a:xfrm>
            <a:off x="8683449" y="1555151"/>
            <a:ext cx="1832151" cy="2588908"/>
          </a:xfrm>
          <a:prstGeom prst="rect">
            <a:avLst/>
          </a:prstGeom>
        </p:spPr>
      </p:pic>
      <p:pic>
        <p:nvPicPr>
          <p:cNvPr id="11" name="Picture 10">
            <a:extLst>
              <a:ext uri="{FF2B5EF4-FFF2-40B4-BE49-F238E27FC236}">
                <a16:creationId xmlns:a16="http://schemas.microsoft.com/office/drawing/2014/main" id="{8E8E47CA-00D6-34DE-81BF-CD8A0C468C4C}"/>
              </a:ext>
            </a:extLst>
          </p:cNvPr>
          <p:cNvPicPr>
            <a:picLocks noChangeAspect="1"/>
          </p:cNvPicPr>
          <p:nvPr/>
        </p:nvPicPr>
        <p:blipFill>
          <a:blip r:embed="rId7"/>
          <a:stretch>
            <a:fillRect/>
          </a:stretch>
        </p:blipFill>
        <p:spPr>
          <a:xfrm>
            <a:off x="1440595" y="4238967"/>
            <a:ext cx="1800224" cy="2523529"/>
          </a:xfrm>
          <a:prstGeom prst="rect">
            <a:avLst/>
          </a:prstGeom>
        </p:spPr>
      </p:pic>
      <p:pic>
        <p:nvPicPr>
          <p:cNvPr id="12" name="Picture 11">
            <a:extLst>
              <a:ext uri="{FF2B5EF4-FFF2-40B4-BE49-F238E27FC236}">
                <a16:creationId xmlns:a16="http://schemas.microsoft.com/office/drawing/2014/main" id="{E979B193-6302-B08D-3219-E035D3A8C816}"/>
              </a:ext>
            </a:extLst>
          </p:cNvPr>
          <p:cNvPicPr>
            <a:picLocks noChangeAspect="1"/>
          </p:cNvPicPr>
          <p:nvPr/>
        </p:nvPicPr>
        <p:blipFill>
          <a:blip r:embed="rId8"/>
          <a:stretch>
            <a:fillRect/>
          </a:stretch>
        </p:blipFill>
        <p:spPr>
          <a:xfrm>
            <a:off x="4114800" y="4238967"/>
            <a:ext cx="1723873" cy="2474743"/>
          </a:xfrm>
          <a:prstGeom prst="rect">
            <a:avLst/>
          </a:prstGeom>
        </p:spPr>
      </p:pic>
      <p:pic>
        <p:nvPicPr>
          <p:cNvPr id="13" name="Picture 12">
            <a:extLst>
              <a:ext uri="{FF2B5EF4-FFF2-40B4-BE49-F238E27FC236}">
                <a16:creationId xmlns:a16="http://schemas.microsoft.com/office/drawing/2014/main" id="{4FD7E977-2985-8878-93E1-E2EF74F22F74}"/>
              </a:ext>
            </a:extLst>
          </p:cNvPr>
          <p:cNvPicPr>
            <a:picLocks noChangeAspect="1"/>
          </p:cNvPicPr>
          <p:nvPr/>
        </p:nvPicPr>
        <p:blipFill>
          <a:blip r:embed="rId9"/>
          <a:stretch>
            <a:fillRect/>
          </a:stretch>
        </p:blipFill>
        <p:spPr>
          <a:xfrm>
            <a:off x="7010400" y="4249676"/>
            <a:ext cx="1723873" cy="2453324"/>
          </a:xfrm>
          <a:prstGeom prst="rect">
            <a:avLst/>
          </a:prstGeom>
        </p:spPr>
      </p:pic>
      <p:pic>
        <p:nvPicPr>
          <p:cNvPr id="14" name="Picture 13">
            <a:extLst>
              <a:ext uri="{FF2B5EF4-FFF2-40B4-BE49-F238E27FC236}">
                <a16:creationId xmlns:a16="http://schemas.microsoft.com/office/drawing/2014/main" id="{024D1B38-34D2-F8B4-E813-0FEDF75A0DDC}"/>
              </a:ext>
            </a:extLst>
          </p:cNvPr>
          <p:cNvPicPr>
            <a:picLocks noChangeAspect="1"/>
          </p:cNvPicPr>
          <p:nvPr/>
        </p:nvPicPr>
        <p:blipFill>
          <a:blip r:embed="rId10"/>
          <a:stretch>
            <a:fillRect/>
          </a:stretch>
        </p:blipFill>
        <p:spPr>
          <a:xfrm>
            <a:off x="9624210" y="4259065"/>
            <a:ext cx="1723873" cy="2454645"/>
          </a:xfrm>
          <a:prstGeom prst="rect">
            <a:avLst/>
          </a:prstGeom>
        </p:spPr>
      </p:pic>
    </p:spTree>
    <p:extLst>
      <p:ext uri="{BB962C8B-B14F-4D97-AF65-F5344CB8AC3E}">
        <p14:creationId xmlns:p14="http://schemas.microsoft.com/office/powerpoint/2010/main" val="375224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p:cTn id="17" dur="500" fill="hold"/>
                                        <p:tgtEl>
                                          <p:spTgt spid="8"/>
                                        </p:tgtEl>
                                        <p:attrNameLst>
                                          <p:attrName>ppt_w</p:attrName>
                                        </p:attrNameLst>
                                      </p:cBhvr>
                                      <p:tavLst>
                                        <p:tav tm="0">
                                          <p:val>
                                            <p:fltVal val="0"/>
                                          </p:val>
                                        </p:tav>
                                        <p:tav tm="100000">
                                          <p:val>
                                            <p:strVal val="#ppt_w"/>
                                          </p:val>
                                        </p:tav>
                                      </p:tavLst>
                                    </p:anim>
                                    <p:anim calcmode="lin" valueType="num">
                                      <p:cBhvr>
                                        <p:cTn id="18" dur="500" fill="hold"/>
                                        <p:tgtEl>
                                          <p:spTgt spid="8"/>
                                        </p:tgtEl>
                                        <p:attrNameLst>
                                          <p:attrName>ppt_h</p:attrName>
                                        </p:attrNameLst>
                                      </p:cBhvr>
                                      <p:tavLst>
                                        <p:tav tm="0">
                                          <p:val>
                                            <p:fltVal val="0"/>
                                          </p:val>
                                        </p:tav>
                                        <p:tav tm="100000">
                                          <p:val>
                                            <p:strVal val="#ppt_h"/>
                                          </p:val>
                                        </p:tav>
                                      </p:tavLst>
                                    </p:anim>
                                    <p:animEffect transition="in" filter="fade">
                                      <p:cBhvr>
                                        <p:cTn id="19" dur="500"/>
                                        <p:tgtEl>
                                          <p:spTgt spid="8"/>
                                        </p:tgtEl>
                                      </p:cBhvr>
                                    </p:animEffect>
                                  </p:childTnLst>
                                </p:cTn>
                              </p:par>
                              <p:par>
                                <p:cTn id="20" presetID="53" presetClass="entr" presetSubtype="16"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500" fill="hold"/>
                                        <p:tgtEl>
                                          <p:spTgt spid="9"/>
                                        </p:tgtEl>
                                        <p:attrNameLst>
                                          <p:attrName>ppt_w</p:attrName>
                                        </p:attrNameLst>
                                      </p:cBhvr>
                                      <p:tavLst>
                                        <p:tav tm="0">
                                          <p:val>
                                            <p:fltVal val="0"/>
                                          </p:val>
                                        </p:tav>
                                        <p:tav tm="100000">
                                          <p:val>
                                            <p:strVal val="#ppt_w"/>
                                          </p:val>
                                        </p:tav>
                                      </p:tavLst>
                                    </p:anim>
                                    <p:anim calcmode="lin" valueType="num">
                                      <p:cBhvr>
                                        <p:cTn id="23" dur="500" fill="hold"/>
                                        <p:tgtEl>
                                          <p:spTgt spid="9"/>
                                        </p:tgtEl>
                                        <p:attrNameLst>
                                          <p:attrName>ppt_h</p:attrName>
                                        </p:attrNameLst>
                                      </p:cBhvr>
                                      <p:tavLst>
                                        <p:tav tm="0">
                                          <p:val>
                                            <p:fltVal val="0"/>
                                          </p:val>
                                        </p:tav>
                                        <p:tav tm="100000">
                                          <p:val>
                                            <p:strVal val="#ppt_h"/>
                                          </p:val>
                                        </p:tav>
                                      </p:tavLst>
                                    </p:anim>
                                    <p:animEffect transition="in" filter="fade">
                                      <p:cBhvr>
                                        <p:cTn id="24" dur="500"/>
                                        <p:tgtEl>
                                          <p:spTgt spid="9"/>
                                        </p:tgtEl>
                                      </p:cBhvr>
                                    </p:animEffect>
                                  </p:childTnLst>
                                </p:cTn>
                              </p:par>
                              <p:par>
                                <p:cTn id="25" presetID="53" presetClass="entr" presetSubtype="16"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par>
                                <p:cTn id="30" presetID="53" presetClass="entr" presetSubtype="16"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p:cTn id="32" dur="500" fill="hold"/>
                                        <p:tgtEl>
                                          <p:spTgt spid="11"/>
                                        </p:tgtEl>
                                        <p:attrNameLst>
                                          <p:attrName>ppt_w</p:attrName>
                                        </p:attrNameLst>
                                      </p:cBhvr>
                                      <p:tavLst>
                                        <p:tav tm="0">
                                          <p:val>
                                            <p:fltVal val="0"/>
                                          </p:val>
                                        </p:tav>
                                        <p:tav tm="100000">
                                          <p:val>
                                            <p:strVal val="#ppt_w"/>
                                          </p:val>
                                        </p:tav>
                                      </p:tavLst>
                                    </p:anim>
                                    <p:anim calcmode="lin" valueType="num">
                                      <p:cBhvr>
                                        <p:cTn id="33" dur="500" fill="hold"/>
                                        <p:tgtEl>
                                          <p:spTgt spid="11"/>
                                        </p:tgtEl>
                                        <p:attrNameLst>
                                          <p:attrName>ppt_h</p:attrName>
                                        </p:attrNameLst>
                                      </p:cBhvr>
                                      <p:tavLst>
                                        <p:tav tm="0">
                                          <p:val>
                                            <p:fltVal val="0"/>
                                          </p:val>
                                        </p:tav>
                                        <p:tav tm="100000">
                                          <p:val>
                                            <p:strVal val="#ppt_h"/>
                                          </p:val>
                                        </p:tav>
                                      </p:tavLst>
                                    </p:anim>
                                    <p:animEffect transition="in" filter="fade">
                                      <p:cBhvr>
                                        <p:cTn id="34" dur="500"/>
                                        <p:tgtEl>
                                          <p:spTgt spid="11"/>
                                        </p:tgtEl>
                                      </p:cBhvr>
                                    </p:animEffect>
                                  </p:childTnLst>
                                </p:cTn>
                              </p:par>
                              <p:par>
                                <p:cTn id="35" presetID="53" presetClass="entr" presetSubtype="16"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Effect transition="in" filter="fade">
                                      <p:cBhvr>
                                        <p:cTn id="39" dur="500"/>
                                        <p:tgtEl>
                                          <p:spTgt spid="12"/>
                                        </p:tgtEl>
                                      </p:cBhvr>
                                    </p:animEffect>
                                  </p:childTnLst>
                                </p:cTn>
                              </p:par>
                              <p:par>
                                <p:cTn id="40" presetID="53" presetClass="entr" presetSubtype="16" fill="hold" nodeType="with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p:cTn id="42" dur="500" fill="hold"/>
                                        <p:tgtEl>
                                          <p:spTgt spid="13"/>
                                        </p:tgtEl>
                                        <p:attrNameLst>
                                          <p:attrName>ppt_w</p:attrName>
                                        </p:attrNameLst>
                                      </p:cBhvr>
                                      <p:tavLst>
                                        <p:tav tm="0">
                                          <p:val>
                                            <p:fltVal val="0"/>
                                          </p:val>
                                        </p:tav>
                                        <p:tav tm="100000">
                                          <p:val>
                                            <p:strVal val="#ppt_w"/>
                                          </p:val>
                                        </p:tav>
                                      </p:tavLst>
                                    </p:anim>
                                    <p:anim calcmode="lin" valueType="num">
                                      <p:cBhvr>
                                        <p:cTn id="43" dur="500" fill="hold"/>
                                        <p:tgtEl>
                                          <p:spTgt spid="13"/>
                                        </p:tgtEl>
                                        <p:attrNameLst>
                                          <p:attrName>ppt_h</p:attrName>
                                        </p:attrNameLst>
                                      </p:cBhvr>
                                      <p:tavLst>
                                        <p:tav tm="0">
                                          <p:val>
                                            <p:fltVal val="0"/>
                                          </p:val>
                                        </p:tav>
                                        <p:tav tm="100000">
                                          <p:val>
                                            <p:strVal val="#ppt_h"/>
                                          </p:val>
                                        </p:tav>
                                      </p:tavLst>
                                    </p:anim>
                                    <p:animEffect transition="in" filter="fade">
                                      <p:cBhvr>
                                        <p:cTn id="44" dur="500"/>
                                        <p:tgtEl>
                                          <p:spTgt spid="13"/>
                                        </p:tgtEl>
                                      </p:cBhvr>
                                    </p:animEffect>
                                  </p:childTnLst>
                                </p:cTn>
                              </p:par>
                              <p:par>
                                <p:cTn id="45" presetID="53" presetClass="entr" presetSubtype="16" fill="hold" nodeType="with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p:cTn id="47" dur="500" fill="hold"/>
                                        <p:tgtEl>
                                          <p:spTgt spid="14"/>
                                        </p:tgtEl>
                                        <p:attrNameLst>
                                          <p:attrName>ppt_w</p:attrName>
                                        </p:attrNameLst>
                                      </p:cBhvr>
                                      <p:tavLst>
                                        <p:tav tm="0">
                                          <p:val>
                                            <p:fltVal val="0"/>
                                          </p:val>
                                        </p:tav>
                                        <p:tav tm="100000">
                                          <p:val>
                                            <p:strVal val="#ppt_w"/>
                                          </p:val>
                                        </p:tav>
                                      </p:tavLst>
                                    </p:anim>
                                    <p:anim calcmode="lin" valueType="num">
                                      <p:cBhvr>
                                        <p:cTn id="48" dur="500" fill="hold"/>
                                        <p:tgtEl>
                                          <p:spTgt spid="14"/>
                                        </p:tgtEl>
                                        <p:attrNameLst>
                                          <p:attrName>ppt_h</p:attrName>
                                        </p:attrNameLst>
                                      </p:cBhvr>
                                      <p:tavLst>
                                        <p:tav tm="0">
                                          <p:val>
                                            <p:fltVal val="0"/>
                                          </p:val>
                                        </p:tav>
                                        <p:tav tm="100000">
                                          <p:val>
                                            <p:strVal val="#ppt_h"/>
                                          </p:val>
                                        </p:tav>
                                      </p:tavLst>
                                    </p:anim>
                                    <p:animEffect transition="in" filter="fade">
                                      <p:cBhvr>
                                        <p:cTn id="4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AA02E51-0588-EDE3-8CEF-7AFC6693015C}"/>
              </a:ext>
            </a:extLst>
          </p:cNvPr>
          <p:cNvSpPr txBox="1"/>
          <p:nvPr/>
        </p:nvSpPr>
        <p:spPr>
          <a:xfrm>
            <a:off x="609600" y="304800"/>
            <a:ext cx="11049000" cy="984885"/>
          </a:xfrm>
          <a:prstGeom prst="rect">
            <a:avLst/>
          </a:prstGeom>
          <a:noFill/>
        </p:spPr>
        <p:txBody>
          <a:bodyPr wrap="square" lIns="0" tIns="0" rIns="0" bIns="0" rtlCol="0">
            <a:spAutoFit/>
          </a:bodyPr>
          <a:lstStyle/>
          <a:p>
            <a:pPr algn="just"/>
            <a:r>
              <a:rPr lang="vi-VN" sz="3200" b="1" dirty="0">
                <a:solidFill>
                  <a:srgbClr val="002060"/>
                </a:solidFill>
                <a:latin typeface="Cambria" panose="02040503050406030204" pitchFamily="18" charset="0"/>
                <a:ea typeface="Cambria" panose="02040503050406030204" pitchFamily="18" charset="0"/>
              </a:rPr>
              <a:t>b. Theo em, bức tranh muốn nói điều gì? Chọn câu trả lời dưới đây hoặc nêu ý kiến của em.</a:t>
            </a:r>
            <a:endParaRPr lang="vi-VN" sz="4800" b="1" dirty="0">
              <a:solidFill>
                <a:srgbClr val="002060"/>
              </a:solidFill>
              <a:latin typeface="Cambria" panose="02040503050406030204" pitchFamily="18" charset="0"/>
              <a:ea typeface="Cambria" panose="02040503050406030204" pitchFamily="18" charset="0"/>
            </a:endParaRPr>
          </a:p>
        </p:txBody>
      </p:sp>
      <p:pic>
        <p:nvPicPr>
          <p:cNvPr id="3" name="Picture 2" descr="A cartoon of children walking on a path with trees&#10;&#10;AI-generated content may be incorrect.">
            <a:extLst>
              <a:ext uri="{FF2B5EF4-FFF2-40B4-BE49-F238E27FC236}">
                <a16:creationId xmlns:a16="http://schemas.microsoft.com/office/drawing/2014/main" id="{A1B550E3-77AE-8943-D918-6D4DA597AD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7800" y="1399000"/>
            <a:ext cx="6705600" cy="5314188"/>
          </a:xfrm>
          <a:prstGeom prst="rect">
            <a:avLst/>
          </a:prstGeom>
        </p:spPr>
      </p:pic>
      <p:grpSp>
        <p:nvGrpSpPr>
          <p:cNvPr id="4" name="Group 3">
            <a:extLst>
              <a:ext uri="{FF2B5EF4-FFF2-40B4-BE49-F238E27FC236}">
                <a16:creationId xmlns:a16="http://schemas.microsoft.com/office/drawing/2014/main" id="{6DC69D3A-87E0-D624-4BCE-D20DDD566A12}"/>
              </a:ext>
            </a:extLst>
          </p:cNvPr>
          <p:cNvGrpSpPr/>
          <p:nvPr/>
        </p:nvGrpSpPr>
        <p:grpSpPr>
          <a:xfrm>
            <a:off x="914400" y="3371248"/>
            <a:ext cx="4105149" cy="1353152"/>
            <a:chOff x="6700677" y="2864057"/>
            <a:chExt cx="4537107" cy="1295369"/>
          </a:xfrm>
          <a:solidFill>
            <a:schemeClr val="bg1"/>
          </a:solidFill>
        </p:grpSpPr>
        <p:sp>
          <p:nvSpPr>
            <p:cNvPr id="5" name="Rectangle: Rounded Corners 4">
              <a:extLst>
                <a:ext uri="{FF2B5EF4-FFF2-40B4-BE49-F238E27FC236}">
                  <a16:creationId xmlns:a16="http://schemas.microsoft.com/office/drawing/2014/main" id="{4384DB7E-B3DF-F27E-ECAC-02773D11AAFC}"/>
                </a:ext>
              </a:extLst>
            </p:cNvPr>
            <p:cNvSpPr/>
            <p:nvPr/>
          </p:nvSpPr>
          <p:spPr>
            <a:xfrm>
              <a:off x="6700677" y="2864057"/>
              <a:ext cx="4537107" cy="1295369"/>
            </a:xfrm>
            <a:prstGeom prst="roundRect">
              <a:avLst>
                <a:gd name="adj" fmla="val 13859"/>
              </a:avLst>
            </a:prstGeom>
            <a:grpFill/>
            <a:ln w="38100">
              <a:solidFill>
                <a:srgbClr val="FAA4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EEFD06B6-2C3E-9DBB-7877-668CBE559602}"/>
                </a:ext>
              </a:extLst>
            </p:cNvPr>
            <p:cNvSpPr txBox="1"/>
            <p:nvPr/>
          </p:nvSpPr>
          <p:spPr>
            <a:xfrm>
              <a:off x="6950454" y="2946248"/>
              <a:ext cx="4213847" cy="1140232"/>
            </a:xfrm>
            <a:prstGeom prst="rect">
              <a:avLst/>
            </a:prstGeom>
            <a:noFill/>
          </p:spPr>
          <p:txBody>
            <a:bodyPr wrap="square" rtlCol="0">
              <a:spAutoFit/>
            </a:bodyPr>
            <a:lstStyle/>
            <a:p>
              <a:pPr marL="0" marR="0" lvl="0" indent="0" algn="just" defTabSz="914400" rtl="0" eaLnBrk="1" fontAlgn="auto" latinLnBrk="0" hangingPunct="1">
                <a:lnSpc>
                  <a:spcPct val="85000"/>
                </a:lnSpc>
                <a:spcBef>
                  <a:spcPts val="0"/>
                </a:spcBef>
                <a:spcAft>
                  <a:spcPts val="0"/>
                </a:spcAft>
                <a:buClrTx/>
                <a:buSzTx/>
                <a:buFontTx/>
                <a:buNone/>
                <a:tabLst/>
                <a:defRPr/>
              </a:pPr>
              <a:r>
                <a:rPr lang="vi-VN" sz="2800" b="1" i="0" dirty="0">
                  <a:solidFill>
                    <a:srgbClr val="FF6600"/>
                  </a:solidFill>
                  <a:effectLst/>
                  <a:latin typeface="Cambria" panose="02040503050406030204" pitchFamily="18" charset="0"/>
                  <a:ea typeface="Cambria" panose="02040503050406030204" pitchFamily="18" charset="0"/>
                </a:rPr>
                <a:t>Kiến thức là vô tận, hãy khám phá để thành công.</a:t>
              </a:r>
              <a:endParaRPr kumimoji="0" lang="en-US" sz="2800" b="1" i="0" u="none" strike="noStrike" kern="1200" cap="none" spc="0" normalizeH="0" baseline="0" noProof="0" dirty="0">
                <a:ln>
                  <a:noFill/>
                </a:ln>
                <a:solidFill>
                  <a:srgbClr val="FF6600"/>
                </a:solidFill>
                <a:effectLst/>
                <a:uLnTx/>
                <a:uFillTx/>
                <a:latin typeface="Cambria" panose="02040503050406030204" pitchFamily="18" charset="0"/>
                <a:ea typeface="Cambria" panose="02040503050406030204" pitchFamily="18" charset="0"/>
              </a:endParaRPr>
            </a:p>
          </p:txBody>
        </p:sp>
      </p:grpSp>
      <p:grpSp>
        <p:nvGrpSpPr>
          <p:cNvPr id="7" name="Group 6">
            <a:extLst>
              <a:ext uri="{FF2B5EF4-FFF2-40B4-BE49-F238E27FC236}">
                <a16:creationId xmlns:a16="http://schemas.microsoft.com/office/drawing/2014/main" id="{659076EE-5870-4A9C-0701-DAF70265B8F6}"/>
              </a:ext>
            </a:extLst>
          </p:cNvPr>
          <p:cNvGrpSpPr/>
          <p:nvPr/>
        </p:nvGrpSpPr>
        <p:grpSpPr>
          <a:xfrm>
            <a:off x="914400" y="1664354"/>
            <a:ext cx="4105149" cy="1325260"/>
            <a:chOff x="981375" y="2864057"/>
            <a:chExt cx="4537107" cy="1129886"/>
          </a:xfrm>
        </p:grpSpPr>
        <p:sp>
          <p:nvSpPr>
            <p:cNvPr id="8" name="Rectangle: Rounded Corners 7">
              <a:extLst>
                <a:ext uri="{FF2B5EF4-FFF2-40B4-BE49-F238E27FC236}">
                  <a16:creationId xmlns:a16="http://schemas.microsoft.com/office/drawing/2014/main" id="{2DCDCE1E-BB33-F0E8-7027-BABE3D8BFE64}"/>
                </a:ext>
              </a:extLst>
            </p:cNvPr>
            <p:cNvSpPr/>
            <p:nvPr/>
          </p:nvSpPr>
          <p:spPr>
            <a:xfrm>
              <a:off x="981375" y="2864057"/>
              <a:ext cx="4537107" cy="1129886"/>
            </a:xfrm>
            <a:prstGeom prst="roundRect">
              <a:avLst>
                <a:gd name="adj" fmla="val 13859"/>
              </a:avLst>
            </a:prstGeom>
            <a:solidFill>
              <a:schemeClr val="bg1"/>
            </a:solid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6596BF2-2496-090D-50CD-69362B1B14B5}"/>
                </a:ext>
              </a:extLst>
            </p:cNvPr>
            <p:cNvSpPr txBox="1"/>
            <p:nvPr/>
          </p:nvSpPr>
          <p:spPr>
            <a:xfrm>
              <a:off x="1149811" y="2939293"/>
              <a:ext cx="4221351" cy="1015500"/>
            </a:xfrm>
            <a:prstGeom prst="rect">
              <a:avLst/>
            </a:prstGeom>
            <a:noFill/>
          </p:spPr>
          <p:txBody>
            <a:bodyPr wrap="square" rtlCol="0">
              <a:spAutoFit/>
            </a:bodyPr>
            <a:lstStyle/>
            <a:p>
              <a:pPr marL="0" marR="0" lvl="0" indent="0" algn="just" defTabSz="914400" rtl="0" eaLnBrk="1" fontAlgn="auto" latinLnBrk="0" hangingPunct="1">
                <a:lnSpc>
                  <a:spcPct val="85000"/>
                </a:lnSpc>
                <a:spcBef>
                  <a:spcPts val="0"/>
                </a:spcBef>
                <a:spcAft>
                  <a:spcPts val="0"/>
                </a:spcAft>
                <a:buClrTx/>
                <a:buSzTx/>
                <a:buFontTx/>
                <a:buNone/>
                <a:tabLst/>
                <a:defRPr/>
              </a:pPr>
              <a:r>
                <a:rPr lang="vi-VN" sz="2800" b="1" i="0" dirty="0">
                  <a:solidFill>
                    <a:schemeClr val="accent6">
                      <a:lumMod val="50000"/>
                    </a:schemeClr>
                  </a:solidFill>
                  <a:effectLst/>
                  <a:latin typeface="Cambria" panose="02040503050406030204" pitchFamily="18" charset="0"/>
                  <a:ea typeface="Cambria" panose="02040503050406030204" pitchFamily="18" charset="0"/>
                </a:rPr>
                <a:t>Con đường học tập rộng mở đang chờ đón em bước tiếp.</a:t>
              </a:r>
              <a:endParaRPr kumimoji="0" lang="en-US" sz="2800" b="1" i="0" u="none" strike="noStrike" kern="1200" cap="none" spc="0" normalizeH="0" baseline="0" noProof="0" dirty="0">
                <a:ln>
                  <a:noFill/>
                </a:ln>
                <a:solidFill>
                  <a:schemeClr val="accent6">
                    <a:lumMod val="50000"/>
                  </a:schemeClr>
                </a:solidFill>
                <a:effectLst/>
                <a:uLnTx/>
                <a:uFillTx/>
                <a:latin typeface="Cambria" panose="02040503050406030204" pitchFamily="18" charset="0"/>
                <a:ea typeface="Cambria" panose="02040503050406030204" pitchFamily="18" charset="0"/>
              </a:endParaRPr>
            </a:p>
          </p:txBody>
        </p:sp>
      </p:grpSp>
      <p:grpSp>
        <p:nvGrpSpPr>
          <p:cNvPr id="10" name="Group 9">
            <a:extLst>
              <a:ext uri="{FF2B5EF4-FFF2-40B4-BE49-F238E27FC236}">
                <a16:creationId xmlns:a16="http://schemas.microsoft.com/office/drawing/2014/main" id="{7E3F8EFE-D051-5FB9-7118-74468524A2F4}"/>
              </a:ext>
            </a:extLst>
          </p:cNvPr>
          <p:cNvGrpSpPr/>
          <p:nvPr/>
        </p:nvGrpSpPr>
        <p:grpSpPr>
          <a:xfrm>
            <a:off x="1057343" y="5071050"/>
            <a:ext cx="4032780" cy="1284809"/>
            <a:chOff x="981375" y="4872763"/>
            <a:chExt cx="4537107" cy="1414526"/>
          </a:xfrm>
        </p:grpSpPr>
        <p:sp>
          <p:nvSpPr>
            <p:cNvPr id="11" name="Rectangle: Rounded Corners 10">
              <a:extLst>
                <a:ext uri="{FF2B5EF4-FFF2-40B4-BE49-F238E27FC236}">
                  <a16:creationId xmlns:a16="http://schemas.microsoft.com/office/drawing/2014/main" id="{6EC7EF19-D53A-B6D0-653E-2CE89B3023E0}"/>
                </a:ext>
              </a:extLst>
            </p:cNvPr>
            <p:cNvSpPr/>
            <p:nvPr/>
          </p:nvSpPr>
          <p:spPr>
            <a:xfrm>
              <a:off x="981375" y="4872763"/>
              <a:ext cx="4537107" cy="1414526"/>
            </a:xfrm>
            <a:prstGeom prst="roundRect">
              <a:avLst>
                <a:gd name="adj" fmla="val 13859"/>
              </a:avLst>
            </a:prstGeom>
            <a:solidFill>
              <a:schemeClr val="bg1"/>
            </a:solidFill>
            <a:ln w="38100">
              <a:solidFill>
                <a:srgbClr val="4D9E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1F2C98A2-4824-6A5E-8A06-8E6BFA0BCE88}"/>
                </a:ext>
              </a:extLst>
            </p:cNvPr>
            <p:cNvSpPr txBox="1"/>
            <p:nvPr/>
          </p:nvSpPr>
          <p:spPr>
            <a:xfrm>
              <a:off x="1083385" y="4910580"/>
              <a:ext cx="4280826" cy="1311350"/>
            </a:xfrm>
            <a:prstGeom prst="rect">
              <a:avLst/>
            </a:prstGeom>
            <a:noFill/>
          </p:spPr>
          <p:txBody>
            <a:bodyPr wrap="square" rtlCol="0">
              <a:spAutoFit/>
            </a:bodyPr>
            <a:lstStyle/>
            <a:p>
              <a:pPr marL="0" marR="0" lvl="0" indent="0" algn="just" defTabSz="914400" rtl="0" eaLnBrk="1" fontAlgn="auto" latinLnBrk="0" hangingPunct="1">
                <a:lnSpc>
                  <a:spcPct val="85000"/>
                </a:lnSpc>
                <a:spcBef>
                  <a:spcPts val="0"/>
                </a:spcBef>
                <a:spcAft>
                  <a:spcPts val="0"/>
                </a:spcAft>
                <a:buClrTx/>
                <a:buSzTx/>
                <a:buFontTx/>
                <a:buNone/>
                <a:tabLst/>
                <a:defRPr/>
              </a:pPr>
              <a:r>
                <a:rPr lang="vi-VN" sz="2800" b="1" i="0" dirty="0">
                  <a:solidFill>
                    <a:schemeClr val="accent2">
                      <a:lumMod val="75000"/>
                    </a:schemeClr>
                  </a:solidFill>
                  <a:effectLst/>
                  <a:latin typeface="Cambria" panose="02040503050406030204" pitchFamily="18" charset="0"/>
                  <a:ea typeface="Cambria" panose="02040503050406030204" pitchFamily="18" charset="0"/>
                </a:rPr>
                <a:t>Học tập là một hành trình để đi đến tương lai tốt đẹp.</a:t>
              </a:r>
              <a:endParaRPr kumimoji="0" lang="en-US" sz="2800" b="1" i="0" u="none" strike="noStrike" kern="1200" cap="none" spc="0" normalizeH="0" baseline="0" noProof="0" dirty="0">
                <a:ln>
                  <a:noFill/>
                </a:ln>
                <a:solidFill>
                  <a:schemeClr val="accent2">
                    <a:lumMod val="75000"/>
                  </a:schemeClr>
                </a:solidFill>
                <a:effectLst/>
                <a:uLnTx/>
                <a:uFillTx/>
                <a:latin typeface="Cambria" panose="02040503050406030204" pitchFamily="18" charset="0"/>
                <a:ea typeface="Cambria" panose="02040503050406030204" pitchFamily="18" charset="0"/>
              </a:endParaRPr>
            </a:p>
          </p:txBody>
        </p:sp>
      </p:grpSp>
      <p:pic>
        <p:nvPicPr>
          <p:cNvPr id="16" name="Picture 15">
            <a:extLst>
              <a:ext uri="{FF2B5EF4-FFF2-40B4-BE49-F238E27FC236}">
                <a16:creationId xmlns:a16="http://schemas.microsoft.com/office/drawing/2014/main" id="{26DFD1FB-CBB7-BF6E-FE16-E1558EF2440A}"/>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r="58208" b="61433"/>
          <a:stretch/>
        </p:blipFill>
        <p:spPr>
          <a:xfrm>
            <a:off x="4880258" y="3644137"/>
            <a:ext cx="897583" cy="807374"/>
          </a:xfrm>
          <a:prstGeom prst="rect">
            <a:avLst/>
          </a:prstGeom>
        </p:spPr>
      </p:pic>
      <p:pic>
        <p:nvPicPr>
          <p:cNvPr id="17" name="Picture 16">
            <a:extLst>
              <a:ext uri="{FF2B5EF4-FFF2-40B4-BE49-F238E27FC236}">
                <a16:creationId xmlns:a16="http://schemas.microsoft.com/office/drawing/2014/main" id="{CA37CF3E-849D-618C-3996-F1CB3C8CBCEF}"/>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60604" t="-2269" r="334" b="61951"/>
          <a:stretch/>
        </p:blipFill>
        <p:spPr>
          <a:xfrm>
            <a:off x="4841152" y="1814704"/>
            <a:ext cx="838952" cy="844025"/>
          </a:xfrm>
          <a:prstGeom prst="rect">
            <a:avLst/>
          </a:prstGeom>
        </p:spPr>
      </p:pic>
      <p:pic>
        <p:nvPicPr>
          <p:cNvPr id="18" name="Picture 17">
            <a:extLst>
              <a:ext uri="{FF2B5EF4-FFF2-40B4-BE49-F238E27FC236}">
                <a16:creationId xmlns:a16="http://schemas.microsoft.com/office/drawing/2014/main" id="{957E96AD-BDE6-A3A2-CBE4-6AE77C2E1A78}"/>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60604" t="-2269" r="334" b="61951"/>
          <a:stretch/>
        </p:blipFill>
        <p:spPr>
          <a:xfrm>
            <a:off x="4923548" y="5322213"/>
            <a:ext cx="838952" cy="844025"/>
          </a:xfrm>
          <a:prstGeom prst="rect">
            <a:avLst/>
          </a:prstGeom>
        </p:spPr>
      </p:pic>
      <p:pic>
        <p:nvPicPr>
          <p:cNvPr id="20" name="Picture 19">
            <a:extLst>
              <a:ext uri="{FF2B5EF4-FFF2-40B4-BE49-F238E27FC236}">
                <a16:creationId xmlns:a16="http://schemas.microsoft.com/office/drawing/2014/main" id="{9DD19343-B4A7-2A1C-D05A-190886578C9A}"/>
              </a:ext>
            </a:extLst>
          </p:cNvPr>
          <p:cNvPicPr>
            <a:picLocks noChangeAspect="1"/>
          </p:cNvPicPr>
          <p:nvPr/>
        </p:nvPicPr>
        <p:blipFill>
          <a:blip r:embed="rId7"/>
          <a:stretch>
            <a:fillRect/>
          </a:stretch>
        </p:blipFill>
        <p:spPr>
          <a:xfrm>
            <a:off x="144963" y="1837209"/>
            <a:ext cx="995434" cy="1006746"/>
          </a:xfrm>
          <a:prstGeom prst="rect">
            <a:avLst/>
          </a:prstGeom>
        </p:spPr>
      </p:pic>
      <p:pic>
        <p:nvPicPr>
          <p:cNvPr id="21" name="Picture 20">
            <a:extLst>
              <a:ext uri="{FF2B5EF4-FFF2-40B4-BE49-F238E27FC236}">
                <a16:creationId xmlns:a16="http://schemas.microsoft.com/office/drawing/2014/main" id="{422E26A5-7F14-D2F3-3D93-F0A54F01716D}"/>
              </a:ext>
            </a:extLst>
          </p:cNvPr>
          <p:cNvPicPr>
            <a:picLocks noChangeAspect="1"/>
          </p:cNvPicPr>
          <p:nvPr/>
        </p:nvPicPr>
        <p:blipFill rotWithShape="1">
          <a:blip r:embed="rId8">
            <a:extLst>
              <a:ext uri="{28A0092B-C50C-407E-A947-70E740481C1C}">
                <a14:useLocalDpi xmlns:a14="http://schemas.microsoft.com/office/drawing/2010/main" val="0"/>
              </a:ext>
            </a:extLst>
          </a:blip>
          <a:srcRect l="21716" r="58214" b="79914"/>
          <a:stretch/>
        </p:blipFill>
        <p:spPr>
          <a:xfrm>
            <a:off x="175667" y="3440438"/>
            <a:ext cx="1113966" cy="1126264"/>
          </a:xfrm>
          <a:prstGeom prst="rect">
            <a:avLst/>
          </a:prstGeom>
        </p:spPr>
      </p:pic>
      <p:pic>
        <p:nvPicPr>
          <p:cNvPr id="22" name="Picture 21">
            <a:extLst>
              <a:ext uri="{FF2B5EF4-FFF2-40B4-BE49-F238E27FC236}">
                <a16:creationId xmlns:a16="http://schemas.microsoft.com/office/drawing/2014/main" id="{2C388AE3-A645-416A-5D45-DF1998F2A010}"/>
              </a:ext>
            </a:extLst>
          </p:cNvPr>
          <p:cNvPicPr>
            <a:picLocks noChangeAspect="1"/>
          </p:cNvPicPr>
          <p:nvPr/>
        </p:nvPicPr>
        <p:blipFill rotWithShape="1">
          <a:blip r:embed="rId9"/>
          <a:srcRect r="50703"/>
          <a:stretch/>
        </p:blipFill>
        <p:spPr>
          <a:xfrm>
            <a:off x="124148" y="5071049"/>
            <a:ext cx="1217005" cy="1284810"/>
          </a:xfrm>
          <a:prstGeom prst="rect">
            <a:avLst/>
          </a:prstGeom>
        </p:spPr>
      </p:pic>
    </p:spTree>
    <p:extLst>
      <p:ext uri="{BB962C8B-B14F-4D97-AF65-F5344CB8AC3E}">
        <p14:creationId xmlns:p14="http://schemas.microsoft.com/office/powerpoint/2010/main" val="1390505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par>
                          <p:cTn id="8" fill="hold">
                            <p:stCondLst>
                              <p:cond delay="500"/>
                            </p:stCondLst>
                            <p:childTnLst>
                              <p:par>
                                <p:cTn id="9" presetID="14" presetClass="entr" presetSubtype="1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randombar(horizontal)">
                                      <p:cBhvr>
                                        <p:cTn id="11" dur="500"/>
                                        <p:tgtEl>
                                          <p:spTgt spid="3"/>
                                        </p:tgtEl>
                                      </p:cBhvr>
                                    </p:animEffect>
                                  </p:childTnLst>
                                </p:cTn>
                              </p:par>
                              <p:par>
                                <p:cTn id="12" presetID="42" presetClass="entr" presetSubtype="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1000"/>
                                        <p:tgtEl>
                                          <p:spTgt spid="20"/>
                                        </p:tgtEl>
                                      </p:cBhvr>
                                    </p:animEffect>
                                    <p:anim calcmode="lin" valueType="num">
                                      <p:cBhvr>
                                        <p:cTn id="30" dur="1000" fill="hold"/>
                                        <p:tgtEl>
                                          <p:spTgt spid="20"/>
                                        </p:tgtEl>
                                        <p:attrNameLst>
                                          <p:attrName>ppt_x</p:attrName>
                                        </p:attrNameLst>
                                      </p:cBhvr>
                                      <p:tavLst>
                                        <p:tav tm="0">
                                          <p:val>
                                            <p:strVal val="#ppt_x"/>
                                          </p:val>
                                        </p:tav>
                                        <p:tav tm="100000">
                                          <p:val>
                                            <p:strVal val="#ppt_x"/>
                                          </p:val>
                                        </p:tav>
                                      </p:tavLst>
                                    </p:anim>
                                    <p:anim calcmode="lin" valueType="num">
                                      <p:cBhvr>
                                        <p:cTn id="31" dur="1000" fill="hold"/>
                                        <p:tgtEl>
                                          <p:spTgt spid="20"/>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1000"/>
                                        <p:tgtEl>
                                          <p:spTgt spid="21"/>
                                        </p:tgtEl>
                                      </p:cBhvr>
                                    </p:animEffect>
                                    <p:anim calcmode="lin" valueType="num">
                                      <p:cBhvr>
                                        <p:cTn id="35" dur="1000" fill="hold"/>
                                        <p:tgtEl>
                                          <p:spTgt spid="21"/>
                                        </p:tgtEl>
                                        <p:attrNameLst>
                                          <p:attrName>ppt_x</p:attrName>
                                        </p:attrNameLst>
                                      </p:cBhvr>
                                      <p:tavLst>
                                        <p:tav tm="0">
                                          <p:val>
                                            <p:strVal val="#ppt_x"/>
                                          </p:val>
                                        </p:tav>
                                        <p:tav tm="100000">
                                          <p:val>
                                            <p:strVal val="#ppt_x"/>
                                          </p:val>
                                        </p:tav>
                                      </p:tavLst>
                                    </p:anim>
                                    <p:anim calcmode="lin" valueType="num">
                                      <p:cBhvr>
                                        <p:cTn id="36" dur="1000" fill="hold"/>
                                        <p:tgtEl>
                                          <p:spTgt spid="21"/>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1000"/>
                                        <p:tgtEl>
                                          <p:spTgt spid="22"/>
                                        </p:tgtEl>
                                      </p:cBhvr>
                                    </p:animEffect>
                                    <p:anim calcmode="lin" valueType="num">
                                      <p:cBhvr>
                                        <p:cTn id="40" dur="1000" fill="hold"/>
                                        <p:tgtEl>
                                          <p:spTgt spid="22"/>
                                        </p:tgtEl>
                                        <p:attrNameLst>
                                          <p:attrName>ppt_x</p:attrName>
                                        </p:attrNameLst>
                                      </p:cBhvr>
                                      <p:tavLst>
                                        <p:tav tm="0">
                                          <p:val>
                                            <p:strVal val="#ppt_x"/>
                                          </p:val>
                                        </p:tav>
                                        <p:tav tm="100000">
                                          <p:val>
                                            <p:strVal val="#ppt_x"/>
                                          </p:val>
                                        </p:tav>
                                      </p:tavLst>
                                    </p:anim>
                                    <p:anim calcmode="lin" valueType="num">
                                      <p:cBhvr>
                                        <p:cTn id="41"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42" restart="whenNotActive" fill="hold" evtFilter="cancelBubble" nodeType="interactiveSeq">
                <p:stCondLst>
                  <p:cond evt="onClick" delay="0">
                    <p:tgtEl>
                      <p:spTgt spid="7"/>
                    </p:tgtEl>
                  </p:cond>
                </p:stCondLst>
                <p:endSync evt="end" delay="0">
                  <p:rtn val="all"/>
                </p:endSync>
                <p:childTnLst>
                  <p:par>
                    <p:cTn id="43" fill="hold">
                      <p:stCondLst>
                        <p:cond delay="0"/>
                      </p:stCondLst>
                      <p:childTnLst>
                        <p:par>
                          <p:cTn id="44" fill="hold">
                            <p:stCondLst>
                              <p:cond delay="0"/>
                            </p:stCondLst>
                            <p:childTnLst>
                              <p:par>
                                <p:cTn id="45" presetID="23" presetClass="entr" presetSubtype="32" fill="hold" nodeType="click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p:cTn id="47" dur="500" fill="hold"/>
                                        <p:tgtEl>
                                          <p:spTgt spid="17"/>
                                        </p:tgtEl>
                                        <p:attrNameLst>
                                          <p:attrName>ppt_w</p:attrName>
                                        </p:attrNameLst>
                                      </p:cBhvr>
                                      <p:tavLst>
                                        <p:tav tm="0">
                                          <p:val>
                                            <p:strVal val="4*#ppt_w"/>
                                          </p:val>
                                        </p:tav>
                                        <p:tav tm="100000">
                                          <p:val>
                                            <p:strVal val="#ppt_w"/>
                                          </p:val>
                                        </p:tav>
                                      </p:tavLst>
                                    </p:anim>
                                    <p:anim calcmode="lin" valueType="num">
                                      <p:cBhvr>
                                        <p:cTn id="48" dur="500" fill="hold"/>
                                        <p:tgtEl>
                                          <p:spTgt spid="17"/>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45"/>
                                            </p:cond>
                                          </p:stCondLst>
                                          <p:endCondLst>
                                            <p:cond evt="onStopAudio" delay="0">
                                              <p:tgtEl>
                                                <p:sldTgt/>
                                              </p:tgtEl>
                                            </p:cond>
                                          </p:endCondLst>
                                        </p:cTn>
                                        <p:tgtEl>
                                          <p:sndTgt r:embed="rId2" name="explode.wav"/>
                                        </p:tgtEl>
                                      </p:cMediaNode>
                                    </p:audio>
                                  </p:subTnLst>
                                </p:cTn>
                              </p:par>
                            </p:childTnLst>
                          </p:cTn>
                        </p:par>
                      </p:childTnLst>
                    </p:cTn>
                  </p:par>
                </p:childTnLst>
              </p:cTn>
              <p:nextCondLst>
                <p:cond evt="onClick" delay="0">
                  <p:tgtEl>
                    <p:spTgt spid="7"/>
                  </p:tgtEl>
                </p:cond>
              </p:nextCondLst>
            </p:seq>
            <p:seq concurrent="1" nextAc="seek">
              <p:cTn id="49" restart="whenNotActive" fill="hold" evtFilter="cancelBubble" nodeType="interactiveSeq">
                <p:stCondLst>
                  <p:cond evt="onClick" delay="0">
                    <p:tgtEl>
                      <p:spTgt spid="4"/>
                    </p:tgtEl>
                  </p:cond>
                </p:stCondLst>
                <p:endSync evt="end" delay="0">
                  <p:rtn val="all"/>
                </p:endSync>
                <p:childTnLst>
                  <p:par>
                    <p:cTn id="50" fill="hold">
                      <p:stCondLst>
                        <p:cond delay="0"/>
                      </p:stCondLst>
                      <p:childTnLst>
                        <p:par>
                          <p:cTn id="51" fill="hold">
                            <p:stCondLst>
                              <p:cond delay="0"/>
                            </p:stCondLst>
                            <p:childTnLst>
                              <p:par>
                                <p:cTn id="52" presetID="23" presetClass="entr" presetSubtype="32" fill="hold" nodeType="clickEffect">
                                  <p:stCondLst>
                                    <p:cond delay="0"/>
                                  </p:stCondLst>
                                  <p:childTnLst>
                                    <p:set>
                                      <p:cBhvr>
                                        <p:cTn id="53" dur="1" fill="hold">
                                          <p:stCondLst>
                                            <p:cond delay="0"/>
                                          </p:stCondLst>
                                        </p:cTn>
                                        <p:tgtEl>
                                          <p:spTgt spid="16"/>
                                        </p:tgtEl>
                                        <p:attrNameLst>
                                          <p:attrName>style.visibility</p:attrName>
                                        </p:attrNameLst>
                                      </p:cBhvr>
                                      <p:to>
                                        <p:strVal val="visible"/>
                                      </p:to>
                                    </p:set>
                                    <p:anim calcmode="lin" valueType="num">
                                      <p:cBhvr>
                                        <p:cTn id="54" dur="500" fill="hold"/>
                                        <p:tgtEl>
                                          <p:spTgt spid="16"/>
                                        </p:tgtEl>
                                        <p:attrNameLst>
                                          <p:attrName>ppt_w</p:attrName>
                                        </p:attrNameLst>
                                      </p:cBhvr>
                                      <p:tavLst>
                                        <p:tav tm="0">
                                          <p:val>
                                            <p:strVal val="4*#ppt_w"/>
                                          </p:val>
                                        </p:tav>
                                        <p:tav tm="100000">
                                          <p:val>
                                            <p:strVal val="#ppt_w"/>
                                          </p:val>
                                        </p:tav>
                                      </p:tavLst>
                                    </p:anim>
                                    <p:anim calcmode="lin" valueType="num">
                                      <p:cBhvr>
                                        <p:cTn id="55" dur="500" fill="hold"/>
                                        <p:tgtEl>
                                          <p:spTgt spid="16"/>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52"/>
                                            </p:cond>
                                          </p:stCondLst>
                                          <p:endCondLst>
                                            <p:cond evt="onStopAudio" delay="0">
                                              <p:tgtEl>
                                                <p:sldTgt/>
                                              </p:tgtEl>
                                            </p:cond>
                                          </p:endCondLst>
                                        </p:cTn>
                                        <p:tgtEl>
                                          <p:sndTgt r:embed="rId3" name="applause.wav"/>
                                        </p:tgtEl>
                                      </p:cMediaNode>
                                    </p:audio>
                                  </p:subTnLst>
                                </p:cTn>
                              </p:par>
                            </p:childTnLst>
                          </p:cTn>
                        </p:par>
                      </p:childTnLst>
                    </p:cTn>
                  </p:par>
                </p:childTnLst>
              </p:cTn>
              <p:nextCondLst>
                <p:cond evt="onClick" delay="0">
                  <p:tgtEl>
                    <p:spTgt spid="4"/>
                  </p:tgtEl>
                </p:cond>
              </p:nextCondLst>
            </p:seq>
            <p:seq concurrent="1" nextAc="seek">
              <p:cTn id="56" restart="whenNotActive" fill="hold" evtFilter="cancelBubble" nodeType="interactiveSeq">
                <p:stCondLst>
                  <p:cond evt="onClick" delay="0">
                    <p:tgtEl>
                      <p:spTgt spid="10"/>
                    </p:tgtEl>
                  </p:cond>
                </p:stCondLst>
                <p:endSync evt="end" delay="0">
                  <p:rtn val="all"/>
                </p:endSync>
                <p:childTnLst>
                  <p:par>
                    <p:cTn id="57" fill="hold">
                      <p:stCondLst>
                        <p:cond delay="0"/>
                      </p:stCondLst>
                      <p:childTnLst>
                        <p:par>
                          <p:cTn id="58" fill="hold">
                            <p:stCondLst>
                              <p:cond delay="0"/>
                            </p:stCondLst>
                            <p:childTnLst>
                              <p:par>
                                <p:cTn id="59" presetID="23" presetClass="entr" presetSubtype="32" fill="hold" nodeType="clickEffect">
                                  <p:stCondLst>
                                    <p:cond delay="0"/>
                                  </p:stCondLst>
                                  <p:childTnLst>
                                    <p:set>
                                      <p:cBhvr>
                                        <p:cTn id="60" dur="1" fill="hold">
                                          <p:stCondLst>
                                            <p:cond delay="0"/>
                                          </p:stCondLst>
                                        </p:cTn>
                                        <p:tgtEl>
                                          <p:spTgt spid="18"/>
                                        </p:tgtEl>
                                        <p:attrNameLst>
                                          <p:attrName>style.visibility</p:attrName>
                                        </p:attrNameLst>
                                      </p:cBhvr>
                                      <p:to>
                                        <p:strVal val="visible"/>
                                      </p:to>
                                    </p:set>
                                    <p:anim calcmode="lin" valueType="num">
                                      <p:cBhvr>
                                        <p:cTn id="61" dur="500" fill="hold"/>
                                        <p:tgtEl>
                                          <p:spTgt spid="18"/>
                                        </p:tgtEl>
                                        <p:attrNameLst>
                                          <p:attrName>ppt_w</p:attrName>
                                        </p:attrNameLst>
                                      </p:cBhvr>
                                      <p:tavLst>
                                        <p:tav tm="0">
                                          <p:val>
                                            <p:strVal val="4*#ppt_w"/>
                                          </p:val>
                                        </p:tav>
                                        <p:tav tm="100000">
                                          <p:val>
                                            <p:strVal val="#ppt_w"/>
                                          </p:val>
                                        </p:tav>
                                      </p:tavLst>
                                    </p:anim>
                                    <p:anim calcmode="lin" valueType="num">
                                      <p:cBhvr>
                                        <p:cTn id="62" dur="500" fill="hold"/>
                                        <p:tgtEl>
                                          <p:spTgt spid="18"/>
                                        </p:tgtEl>
                                        <p:attrNameLst>
                                          <p:attrName>ppt_h</p:attrName>
                                        </p:attrNameLst>
                                      </p:cBhvr>
                                      <p:tavLst>
                                        <p:tav tm="0">
                                          <p:val>
                                            <p:strVal val="4*#ppt_h"/>
                                          </p:val>
                                        </p:tav>
                                        <p:tav tm="100000">
                                          <p:val>
                                            <p:strVal val="#ppt_h"/>
                                          </p:val>
                                        </p:tav>
                                      </p:tavLst>
                                    </p:anim>
                                  </p:childTnLst>
                                  <p:subTnLst>
                                    <p:audio>
                                      <p:cMediaNode>
                                        <p:cTn display="0" masterRel="sameClick">
                                          <p:stCondLst>
                                            <p:cond evt="begin" delay="0">
                                              <p:tn val="59"/>
                                            </p:cond>
                                          </p:stCondLst>
                                          <p:endCondLst>
                                            <p:cond evt="onStopAudio" delay="0">
                                              <p:tgtEl>
                                                <p:sldTgt/>
                                              </p:tgtEl>
                                            </p:cond>
                                          </p:endCondLst>
                                        </p:cTn>
                                        <p:tgtEl>
                                          <p:sndTgt r:embed="rId2" name="explode.wav"/>
                                        </p:tgtEl>
                                      </p:cMediaNode>
                                    </p:audio>
                                  </p:subTnLst>
                                </p:cTn>
                              </p:par>
                            </p:childTnLst>
                          </p:cTn>
                        </p:par>
                      </p:childTnLst>
                    </p:cTn>
                  </p:par>
                </p:childTnLst>
              </p:cTn>
              <p:nextCondLst>
                <p:cond evt="onClick" delay="0">
                  <p:tgtEl>
                    <p:spTgt spid="10"/>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C897BF3-1E6F-C545-E294-91BFF27ADC40}"/>
              </a:ext>
            </a:extLst>
          </p:cNvPr>
          <p:cNvGrpSpPr/>
          <p:nvPr/>
        </p:nvGrpSpPr>
        <p:grpSpPr>
          <a:xfrm>
            <a:off x="1066800" y="374483"/>
            <a:ext cx="10591799" cy="1149517"/>
            <a:chOff x="4748249" y="2099968"/>
            <a:chExt cx="6774939" cy="4553339"/>
          </a:xfrm>
        </p:grpSpPr>
        <p:sp>
          <p:nvSpPr>
            <p:cNvPr id="3" name="Rectangle: Rounded Corners 2">
              <a:extLst>
                <a:ext uri="{FF2B5EF4-FFF2-40B4-BE49-F238E27FC236}">
                  <a16:creationId xmlns:a16="http://schemas.microsoft.com/office/drawing/2014/main" id="{D0865FEA-06EA-5AC4-8098-8E0F0862DE12}"/>
                </a:ext>
              </a:extLst>
            </p:cNvPr>
            <p:cNvSpPr/>
            <p:nvPr/>
          </p:nvSpPr>
          <p:spPr>
            <a:xfrm>
              <a:off x="4748249" y="2099968"/>
              <a:ext cx="6774939" cy="4553339"/>
            </a:xfrm>
            <a:custGeom>
              <a:avLst/>
              <a:gdLst>
                <a:gd name="connsiteX0" fmla="*/ 0 w 6774939"/>
                <a:gd name="connsiteY0" fmla="*/ 192379 h 4553339"/>
                <a:gd name="connsiteX1" fmla="*/ 192379 w 6774939"/>
                <a:gd name="connsiteY1" fmla="*/ 0 h 4553339"/>
                <a:gd name="connsiteX2" fmla="*/ 703593 w 6774939"/>
                <a:gd name="connsiteY2" fmla="*/ 0 h 4553339"/>
                <a:gd name="connsiteX3" fmla="*/ 1150906 w 6774939"/>
                <a:gd name="connsiteY3" fmla="*/ 0 h 4553339"/>
                <a:gd name="connsiteX4" fmla="*/ 1789924 w 6774939"/>
                <a:gd name="connsiteY4" fmla="*/ 0 h 4553339"/>
                <a:gd name="connsiteX5" fmla="*/ 2237237 w 6774939"/>
                <a:gd name="connsiteY5" fmla="*/ 0 h 4553339"/>
                <a:gd name="connsiteX6" fmla="*/ 2748451 w 6774939"/>
                <a:gd name="connsiteY6" fmla="*/ 0 h 4553339"/>
                <a:gd name="connsiteX7" fmla="*/ 3323568 w 6774939"/>
                <a:gd name="connsiteY7" fmla="*/ 0 h 4553339"/>
                <a:gd name="connsiteX8" fmla="*/ 3962586 w 6774939"/>
                <a:gd name="connsiteY8" fmla="*/ 0 h 4553339"/>
                <a:gd name="connsiteX9" fmla="*/ 4409898 w 6774939"/>
                <a:gd name="connsiteY9" fmla="*/ 0 h 4553339"/>
                <a:gd name="connsiteX10" fmla="*/ 5176720 w 6774939"/>
                <a:gd name="connsiteY10" fmla="*/ 0 h 4553339"/>
                <a:gd name="connsiteX11" fmla="*/ 5751836 w 6774939"/>
                <a:gd name="connsiteY11" fmla="*/ 0 h 4553339"/>
                <a:gd name="connsiteX12" fmla="*/ 6582560 w 6774939"/>
                <a:gd name="connsiteY12" fmla="*/ 0 h 4553339"/>
                <a:gd name="connsiteX13" fmla="*/ 6774939 w 6774939"/>
                <a:gd name="connsiteY13" fmla="*/ 192379 h 4553339"/>
                <a:gd name="connsiteX14" fmla="*/ 6774939 w 6774939"/>
                <a:gd name="connsiteY14" fmla="*/ 762085 h 4553339"/>
                <a:gd name="connsiteX15" fmla="*/ 6774939 w 6774939"/>
                <a:gd name="connsiteY15" fmla="*/ 1456849 h 4553339"/>
                <a:gd name="connsiteX16" fmla="*/ 6774939 w 6774939"/>
                <a:gd name="connsiteY16" fmla="*/ 2109926 h 4553339"/>
                <a:gd name="connsiteX17" fmla="*/ 6774939 w 6774939"/>
                <a:gd name="connsiteY17" fmla="*/ 2679632 h 4553339"/>
                <a:gd name="connsiteX18" fmla="*/ 6774939 w 6774939"/>
                <a:gd name="connsiteY18" fmla="*/ 3457767 h 4553339"/>
                <a:gd name="connsiteX19" fmla="*/ 6774939 w 6774939"/>
                <a:gd name="connsiteY19" fmla="*/ 4360960 h 4553339"/>
                <a:gd name="connsiteX20" fmla="*/ 6582560 w 6774939"/>
                <a:gd name="connsiteY20" fmla="*/ 4553339 h 4553339"/>
                <a:gd name="connsiteX21" fmla="*/ 6007444 w 6774939"/>
                <a:gd name="connsiteY21" fmla="*/ 4553339 h 4553339"/>
                <a:gd name="connsiteX22" fmla="*/ 5304524 w 6774939"/>
                <a:gd name="connsiteY22" fmla="*/ 4553339 h 4553339"/>
                <a:gd name="connsiteX23" fmla="*/ 4857211 w 6774939"/>
                <a:gd name="connsiteY23" fmla="*/ 4553339 h 4553339"/>
                <a:gd name="connsiteX24" fmla="*/ 4409898 w 6774939"/>
                <a:gd name="connsiteY24" fmla="*/ 4553339 h 4553339"/>
                <a:gd name="connsiteX25" fmla="*/ 3706979 w 6774939"/>
                <a:gd name="connsiteY25" fmla="*/ 4553339 h 4553339"/>
                <a:gd name="connsiteX26" fmla="*/ 3259666 w 6774939"/>
                <a:gd name="connsiteY26" fmla="*/ 4553339 h 4553339"/>
                <a:gd name="connsiteX27" fmla="*/ 2748451 w 6774939"/>
                <a:gd name="connsiteY27" fmla="*/ 4553339 h 4553339"/>
                <a:gd name="connsiteX28" fmla="*/ 2173335 w 6774939"/>
                <a:gd name="connsiteY28" fmla="*/ 4553339 h 4553339"/>
                <a:gd name="connsiteX29" fmla="*/ 1662121 w 6774939"/>
                <a:gd name="connsiteY29" fmla="*/ 4553339 h 4553339"/>
                <a:gd name="connsiteX30" fmla="*/ 1023103 w 6774939"/>
                <a:gd name="connsiteY30" fmla="*/ 4553339 h 4553339"/>
                <a:gd name="connsiteX31" fmla="*/ 192379 w 6774939"/>
                <a:gd name="connsiteY31" fmla="*/ 4553339 h 4553339"/>
                <a:gd name="connsiteX32" fmla="*/ 0 w 6774939"/>
                <a:gd name="connsiteY32" fmla="*/ 4360960 h 4553339"/>
                <a:gd name="connsiteX33" fmla="*/ 0 w 6774939"/>
                <a:gd name="connsiteY33" fmla="*/ 3749568 h 4553339"/>
                <a:gd name="connsiteX34" fmla="*/ 0 w 6774939"/>
                <a:gd name="connsiteY34" fmla="*/ 3054805 h 4553339"/>
                <a:gd name="connsiteX35" fmla="*/ 0 w 6774939"/>
                <a:gd name="connsiteY35" fmla="*/ 2401727 h 4553339"/>
                <a:gd name="connsiteX36" fmla="*/ 0 w 6774939"/>
                <a:gd name="connsiteY36" fmla="*/ 1623592 h 4553339"/>
                <a:gd name="connsiteX37" fmla="*/ 0 w 6774939"/>
                <a:gd name="connsiteY37" fmla="*/ 970514 h 4553339"/>
                <a:gd name="connsiteX38" fmla="*/ 0 w 6774939"/>
                <a:gd name="connsiteY38" fmla="*/ 192379 h 45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74939" h="4553339" fill="none" extrusionOk="0">
                  <a:moveTo>
                    <a:pt x="0" y="192379"/>
                  </a:moveTo>
                  <a:cubicBezTo>
                    <a:pt x="-16178" y="87651"/>
                    <a:pt x="97670" y="4969"/>
                    <a:pt x="192379" y="0"/>
                  </a:cubicBezTo>
                  <a:cubicBezTo>
                    <a:pt x="429582" y="-20866"/>
                    <a:pt x="471013" y="9513"/>
                    <a:pt x="703593" y="0"/>
                  </a:cubicBezTo>
                  <a:cubicBezTo>
                    <a:pt x="936173" y="-9513"/>
                    <a:pt x="1033608" y="-15151"/>
                    <a:pt x="1150906" y="0"/>
                  </a:cubicBezTo>
                  <a:cubicBezTo>
                    <a:pt x="1268204" y="15151"/>
                    <a:pt x="1536738" y="12554"/>
                    <a:pt x="1789924" y="0"/>
                  </a:cubicBezTo>
                  <a:cubicBezTo>
                    <a:pt x="2043110" y="-12554"/>
                    <a:pt x="2061579" y="-11165"/>
                    <a:pt x="2237237" y="0"/>
                  </a:cubicBezTo>
                  <a:cubicBezTo>
                    <a:pt x="2412895" y="11165"/>
                    <a:pt x="2539963" y="-7461"/>
                    <a:pt x="2748451" y="0"/>
                  </a:cubicBezTo>
                  <a:cubicBezTo>
                    <a:pt x="2956939" y="7461"/>
                    <a:pt x="3161734" y="1577"/>
                    <a:pt x="3323568" y="0"/>
                  </a:cubicBezTo>
                  <a:cubicBezTo>
                    <a:pt x="3485402" y="-1577"/>
                    <a:pt x="3649143" y="-2160"/>
                    <a:pt x="3962586" y="0"/>
                  </a:cubicBezTo>
                  <a:cubicBezTo>
                    <a:pt x="4276029" y="2160"/>
                    <a:pt x="4201784" y="-261"/>
                    <a:pt x="4409898" y="0"/>
                  </a:cubicBezTo>
                  <a:cubicBezTo>
                    <a:pt x="4618012" y="261"/>
                    <a:pt x="4814982" y="-32559"/>
                    <a:pt x="5176720" y="0"/>
                  </a:cubicBezTo>
                  <a:cubicBezTo>
                    <a:pt x="5538458" y="32559"/>
                    <a:pt x="5614593" y="-26109"/>
                    <a:pt x="5751836" y="0"/>
                  </a:cubicBezTo>
                  <a:cubicBezTo>
                    <a:pt x="5889079" y="26109"/>
                    <a:pt x="6258091" y="5360"/>
                    <a:pt x="6582560" y="0"/>
                  </a:cubicBezTo>
                  <a:cubicBezTo>
                    <a:pt x="6696806" y="-5718"/>
                    <a:pt x="6779156" y="94634"/>
                    <a:pt x="6774939" y="192379"/>
                  </a:cubicBezTo>
                  <a:cubicBezTo>
                    <a:pt x="6787315" y="325651"/>
                    <a:pt x="6790615" y="615525"/>
                    <a:pt x="6774939" y="762085"/>
                  </a:cubicBezTo>
                  <a:cubicBezTo>
                    <a:pt x="6759263" y="908645"/>
                    <a:pt x="6744196" y="1251028"/>
                    <a:pt x="6774939" y="1456849"/>
                  </a:cubicBezTo>
                  <a:cubicBezTo>
                    <a:pt x="6805682" y="1662670"/>
                    <a:pt x="6776983" y="1795588"/>
                    <a:pt x="6774939" y="2109926"/>
                  </a:cubicBezTo>
                  <a:cubicBezTo>
                    <a:pt x="6772895" y="2424264"/>
                    <a:pt x="6748470" y="2407389"/>
                    <a:pt x="6774939" y="2679632"/>
                  </a:cubicBezTo>
                  <a:cubicBezTo>
                    <a:pt x="6801408" y="2951875"/>
                    <a:pt x="6773589" y="3108756"/>
                    <a:pt x="6774939" y="3457767"/>
                  </a:cubicBezTo>
                  <a:cubicBezTo>
                    <a:pt x="6776289" y="3806778"/>
                    <a:pt x="6764063" y="3979104"/>
                    <a:pt x="6774939" y="4360960"/>
                  </a:cubicBezTo>
                  <a:cubicBezTo>
                    <a:pt x="6782255" y="4480993"/>
                    <a:pt x="6695767" y="4555091"/>
                    <a:pt x="6582560" y="4553339"/>
                  </a:cubicBezTo>
                  <a:cubicBezTo>
                    <a:pt x="6430189" y="4575051"/>
                    <a:pt x="6183558" y="4544762"/>
                    <a:pt x="6007444" y="4553339"/>
                  </a:cubicBezTo>
                  <a:cubicBezTo>
                    <a:pt x="5831330" y="4561916"/>
                    <a:pt x="5580597" y="4553711"/>
                    <a:pt x="5304524" y="4553339"/>
                  </a:cubicBezTo>
                  <a:cubicBezTo>
                    <a:pt x="5028451" y="4552967"/>
                    <a:pt x="4961400" y="4544600"/>
                    <a:pt x="4857211" y="4553339"/>
                  </a:cubicBezTo>
                  <a:cubicBezTo>
                    <a:pt x="4753022" y="4562078"/>
                    <a:pt x="4511559" y="4570212"/>
                    <a:pt x="4409898" y="4553339"/>
                  </a:cubicBezTo>
                  <a:cubicBezTo>
                    <a:pt x="4308237" y="4536466"/>
                    <a:pt x="3873302" y="4535871"/>
                    <a:pt x="3706979" y="4553339"/>
                  </a:cubicBezTo>
                  <a:cubicBezTo>
                    <a:pt x="3540656" y="4570807"/>
                    <a:pt x="3367088" y="4565771"/>
                    <a:pt x="3259666" y="4553339"/>
                  </a:cubicBezTo>
                  <a:cubicBezTo>
                    <a:pt x="3152244" y="4540907"/>
                    <a:pt x="2852823" y="4559837"/>
                    <a:pt x="2748451" y="4553339"/>
                  </a:cubicBezTo>
                  <a:cubicBezTo>
                    <a:pt x="2644079" y="4546841"/>
                    <a:pt x="2404062" y="4557614"/>
                    <a:pt x="2173335" y="4553339"/>
                  </a:cubicBezTo>
                  <a:cubicBezTo>
                    <a:pt x="1942608" y="4549064"/>
                    <a:pt x="1914227" y="4566630"/>
                    <a:pt x="1662121" y="4553339"/>
                  </a:cubicBezTo>
                  <a:cubicBezTo>
                    <a:pt x="1410015" y="4540048"/>
                    <a:pt x="1210550" y="4558890"/>
                    <a:pt x="1023103" y="4553339"/>
                  </a:cubicBezTo>
                  <a:cubicBezTo>
                    <a:pt x="835656" y="4547788"/>
                    <a:pt x="431430" y="4573006"/>
                    <a:pt x="192379" y="4553339"/>
                  </a:cubicBezTo>
                  <a:cubicBezTo>
                    <a:pt x="87942" y="4556392"/>
                    <a:pt x="3943" y="4461961"/>
                    <a:pt x="0" y="4360960"/>
                  </a:cubicBezTo>
                  <a:cubicBezTo>
                    <a:pt x="6991" y="4111086"/>
                    <a:pt x="16507" y="4022528"/>
                    <a:pt x="0" y="3749568"/>
                  </a:cubicBezTo>
                  <a:cubicBezTo>
                    <a:pt x="-16507" y="3476608"/>
                    <a:pt x="-2594" y="3208837"/>
                    <a:pt x="0" y="3054805"/>
                  </a:cubicBezTo>
                  <a:cubicBezTo>
                    <a:pt x="2594" y="2900773"/>
                    <a:pt x="32364" y="2576659"/>
                    <a:pt x="0" y="2401727"/>
                  </a:cubicBezTo>
                  <a:cubicBezTo>
                    <a:pt x="-32364" y="2226795"/>
                    <a:pt x="-23057" y="1954060"/>
                    <a:pt x="0" y="1623592"/>
                  </a:cubicBezTo>
                  <a:cubicBezTo>
                    <a:pt x="23057" y="1293124"/>
                    <a:pt x="10069" y="1257955"/>
                    <a:pt x="0" y="970514"/>
                  </a:cubicBezTo>
                  <a:cubicBezTo>
                    <a:pt x="-10069" y="683073"/>
                    <a:pt x="28888" y="388810"/>
                    <a:pt x="0" y="192379"/>
                  </a:cubicBezTo>
                  <a:close/>
                </a:path>
                <a:path w="6774939" h="4553339" stroke="0" extrusionOk="0">
                  <a:moveTo>
                    <a:pt x="0" y="192379"/>
                  </a:moveTo>
                  <a:cubicBezTo>
                    <a:pt x="2946" y="87532"/>
                    <a:pt x="70768" y="-11896"/>
                    <a:pt x="192379" y="0"/>
                  </a:cubicBezTo>
                  <a:cubicBezTo>
                    <a:pt x="369402" y="-19505"/>
                    <a:pt x="512589" y="-4808"/>
                    <a:pt x="831397" y="0"/>
                  </a:cubicBezTo>
                  <a:cubicBezTo>
                    <a:pt x="1150205" y="4808"/>
                    <a:pt x="1287621" y="12214"/>
                    <a:pt x="1406513" y="0"/>
                  </a:cubicBezTo>
                  <a:cubicBezTo>
                    <a:pt x="1525405" y="-12214"/>
                    <a:pt x="1668928" y="-2709"/>
                    <a:pt x="1853826" y="0"/>
                  </a:cubicBezTo>
                  <a:cubicBezTo>
                    <a:pt x="2038724" y="2709"/>
                    <a:pt x="2383176" y="3821"/>
                    <a:pt x="2556746" y="0"/>
                  </a:cubicBezTo>
                  <a:cubicBezTo>
                    <a:pt x="2730316" y="-3821"/>
                    <a:pt x="3055657" y="13946"/>
                    <a:pt x="3259666" y="0"/>
                  </a:cubicBezTo>
                  <a:cubicBezTo>
                    <a:pt x="3463675" y="-13946"/>
                    <a:pt x="3614379" y="13424"/>
                    <a:pt x="3706979" y="0"/>
                  </a:cubicBezTo>
                  <a:cubicBezTo>
                    <a:pt x="3799579" y="-13424"/>
                    <a:pt x="4274711" y="-37476"/>
                    <a:pt x="4473800" y="0"/>
                  </a:cubicBezTo>
                  <a:cubicBezTo>
                    <a:pt x="4672889" y="37476"/>
                    <a:pt x="4701105" y="20997"/>
                    <a:pt x="4921113" y="0"/>
                  </a:cubicBezTo>
                  <a:cubicBezTo>
                    <a:pt x="5141121" y="-20997"/>
                    <a:pt x="5393825" y="-14592"/>
                    <a:pt x="5560131" y="0"/>
                  </a:cubicBezTo>
                  <a:cubicBezTo>
                    <a:pt x="5726437" y="14592"/>
                    <a:pt x="6187774" y="14457"/>
                    <a:pt x="6582560" y="0"/>
                  </a:cubicBezTo>
                  <a:cubicBezTo>
                    <a:pt x="6683262" y="-9640"/>
                    <a:pt x="6779063" y="72109"/>
                    <a:pt x="6774939" y="192379"/>
                  </a:cubicBezTo>
                  <a:cubicBezTo>
                    <a:pt x="6755426" y="548839"/>
                    <a:pt x="6800584" y="769145"/>
                    <a:pt x="6774939" y="970514"/>
                  </a:cubicBezTo>
                  <a:cubicBezTo>
                    <a:pt x="6749294" y="1171884"/>
                    <a:pt x="6763566" y="1581033"/>
                    <a:pt x="6774939" y="1748649"/>
                  </a:cubicBezTo>
                  <a:cubicBezTo>
                    <a:pt x="6786312" y="1916265"/>
                    <a:pt x="6765196" y="2299444"/>
                    <a:pt x="6774939" y="2526784"/>
                  </a:cubicBezTo>
                  <a:cubicBezTo>
                    <a:pt x="6784682" y="2754124"/>
                    <a:pt x="6743984" y="2976538"/>
                    <a:pt x="6774939" y="3263234"/>
                  </a:cubicBezTo>
                  <a:cubicBezTo>
                    <a:pt x="6805895" y="3549930"/>
                    <a:pt x="6795156" y="3872771"/>
                    <a:pt x="6774939" y="4360960"/>
                  </a:cubicBezTo>
                  <a:cubicBezTo>
                    <a:pt x="6766547" y="4460448"/>
                    <a:pt x="6688153" y="4549345"/>
                    <a:pt x="6582560" y="4553339"/>
                  </a:cubicBezTo>
                  <a:cubicBezTo>
                    <a:pt x="6322657" y="4583434"/>
                    <a:pt x="6162575" y="4521912"/>
                    <a:pt x="5879640" y="4553339"/>
                  </a:cubicBezTo>
                  <a:cubicBezTo>
                    <a:pt x="5596705" y="4584766"/>
                    <a:pt x="5421404" y="4566697"/>
                    <a:pt x="5176720" y="4553339"/>
                  </a:cubicBezTo>
                  <a:cubicBezTo>
                    <a:pt x="4932036" y="4539981"/>
                    <a:pt x="4764823" y="4585210"/>
                    <a:pt x="4473800" y="4553339"/>
                  </a:cubicBezTo>
                  <a:cubicBezTo>
                    <a:pt x="4182777" y="4521468"/>
                    <a:pt x="4212444" y="4560734"/>
                    <a:pt x="4026488" y="4553339"/>
                  </a:cubicBezTo>
                  <a:cubicBezTo>
                    <a:pt x="3840532" y="4545944"/>
                    <a:pt x="3682593" y="4534551"/>
                    <a:pt x="3515273" y="4553339"/>
                  </a:cubicBezTo>
                  <a:cubicBezTo>
                    <a:pt x="3347954" y="4572127"/>
                    <a:pt x="3195004" y="4561976"/>
                    <a:pt x="3004059" y="4553339"/>
                  </a:cubicBezTo>
                  <a:cubicBezTo>
                    <a:pt x="2813114" y="4544702"/>
                    <a:pt x="2610413" y="4532157"/>
                    <a:pt x="2301139" y="4553339"/>
                  </a:cubicBezTo>
                  <a:cubicBezTo>
                    <a:pt x="1991865" y="4574521"/>
                    <a:pt x="1912480" y="4526452"/>
                    <a:pt x="1534317" y="4553339"/>
                  </a:cubicBezTo>
                  <a:cubicBezTo>
                    <a:pt x="1156154" y="4580226"/>
                    <a:pt x="1285362" y="4568993"/>
                    <a:pt x="1087004" y="4553339"/>
                  </a:cubicBezTo>
                  <a:cubicBezTo>
                    <a:pt x="888646" y="4537685"/>
                    <a:pt x="452794" y="4558922"/>
                    <a:pt x="192379" y="4553339"/>
                  </a:cubicBezTo>
                  <a:cubicBezTo>
                    <a:pt x="83412" y="4552573"/>
                    <a:pt x="-13948" y="4466770"/>
                    <a:pt x="0" y="4360960"/>
                  </a:cubicBezTo>
                  <a:cubicBezTo>
                    <a:pt x="22789" y="4114792"/>
                    <a:pt x="16145" y="3938347"/>
                    <a:pt x="0" y="3624511"/>
                  </a:cubicBezTo>
                  <a:cubicBezTo>
                    <a:pt x="-16145" y="3310675"/>
                    <a:pt x="2654" y="3252054"/>
                    <a:pt x="0" y="3054805"/>
                  </a:cubicBezTo>
                  <a:cubicBezTo>
                    <a:pt x="-2654" y="2857556"/>
                    <a:pt x="-7239" y="2676545"/>
                    <a:pt x="0" y="2360041"/>
                  </a:cubicBezTo>
                  <a:cubicBezTo>
                    <a:pt x="7239" y="2043537"/>
                    <a:pt x="28036" y="1926493"/>
                    <a:pt x="0" y="1581906"/>
                  </a:cubicBezTo>
                  <a:cubicBezTo>
                    <a:pt x="-28036" y="1237319"/>
                    <a:pt x="-23252" y="1053908"/>
                    <a:pt x="0" y="803771"/>
                  </a:cubicBezTo>
                  <a:cubicBezTo>
                    <a:pt x="23252" y="553635"/>
                    <a:pt x="-17599" y="469968"/>
                    <a:pt x="0" y="192379"/>
                  </a:cubicBezTo>
                  <a:close/>
                </a:path>
              </a:pathLst>
            </a:custGeom>
            <a:solidFill>
              <a:schemeClr val="bg1">
                <a:alpha val="85000"/>
              </a:schemeClr>
            </a:solidFill>
            <a:ln w="38100">
              <a:solidFill>
                <a:schemeClr val="tx1"/>
              </a:solidFill>
              <a:extLst>
                <a:ext uri="{C807C97D-BFC1-408E-A445-0C87EB9F89A2}">
                  <ask:lineSketchStyleProps xmlns:ask="http://schemas.microsoft.com/office/drawing/2018/sketchyshapes" sd="1860289983">
                    <a:prstGeom prst="roundRect">
                      <a:avLst>
                        <a:gd name="adj" fmla="val 4225"/>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9Slide02 Noi dung dai"/>
                <a:ea typeface="+mn-ea"/>
                <a:cs typeface="+mn-cs"/>
              </a:endParaRPr>
            </a:p>
          </p:txBody>
        </p:sp>
        <p:sp>
          <p:nvSpPr>
            <p:cNvPr id="4" name="TextBox 3">
              <a:extLst>
                <a:ext uri="{FF2B5EF4-FFF2-40B4-BE49-F238E27FC236}">
                  <a16:creationId xmlns:a16="http://schemas.microsoft.com/office/drawing/2014/main" id="{DDA62FFA-F566-5AED-F004-7C5EAD479265}"/>
                </a:ext>
              </a:extLst>
            </p:cNvPr>
            <p:cNvSpPr txBox="1"/>
            <p:nvPr/>
          </p:nvSpPr>
          <p:spPr>
            <a:xfrm>
              <a:off x="4909988" y="2575144"/>
              <a:ext cx="6466979" cy="3657392"/>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vi-VN" sz="3000" b="1" i="0" dirty="0">
                  <a:solidFill>
                    <a:schemeClr val="accent6">
                      <a:lumMod val="50000"/>
                    </a:schemeClr>
                  </a:solidFill>
                  <a:effectLst/>
                  <a:latin typeface="Cambria" panose="02040503050406030204" pitchFamily="18" charset="0"/>
                  <a:ea typeface="Cambria" panose="02040503050406030204" pitchFamily="18" charset="0"/>
                </a:rPr>
                <a:t>Tóm tắt nội dung 1 – 2 câu chuyện dưới đây. Nêu điều em tâm đắc nhất trong câu chuyện đó và giải thích vì sao.</a:t>
              </a:r>
              <a:endParaRPr kumimoji="0" lang="en-US" sz="3000" b="1" i="0" u="none" strike="noStrike" kern="1200" cap="none" spc="0" normalizeH="0" baseline="0" noProof="0" dirty="0">
                <a:ln>
                  <a:noFill/>
                </a:ln>
                <a:solidFill>
                  <a:schemeClr val="accent6">
                    <a:lumMod val="50000"/>
                  </a:schemeClr>
                </a:solidFill>
                <a:effectLst/>
                <a:uLnTx/>
                <a:uFillTx/>
                <a:latin typeface="Cambria" panose="02040503050406030204" pitchFamily="18" charset="0"/>
                <a:ea typeface="Cambria" panose="02040503050406030204" pitchFamily="18" charset="0"/>
                <a:cs typeface="Mali Medium" panose="00000600000000000000" pitchFamily="2" charset="-34"/>
              </a:endParaRPr>
            </a:p>
          </p:txBody>
        </p:sp>
      </p:grpSp>
      <p:pic>
        <p:nvPicPr>
          <p:cNvPr id="5" name="Picture 4">
            <a:extLst>
              <a:ext uri="{FF2B5EF4-FFF2-40B4-BE49-F238E27FC236}">
                <a16:creationId xmlns:a16="http://schemas.microsoft.com/office/drawing/2014/main" id="{72E9164C-A3AD-E155-AA60-1A73FA7961A1}"/>
              </a:ext>
            </a:extLst>
          </p:cNvPr>
          <p:cNvPicPr>
            <a:picLocks noChangeAspect="1"/>
          </p:cNvPicPr>
          <p:nvPr/>
        </p:nvPicPr>
        <p:blipFill rotWithShape="1">
          <a:blip r:embed="rId2">
            <a:extLst>
              <a:ext uri="{28A0092B-C50C-407E-A947-70E740481C1C}">
                <a14:useLocalDpi xmlns:a14="http://schemas.microsoft.com/office/drawing/2010/main" val="0"/>
              </a:ext>
            </a:extLst>
          </a:blip>
          <a:srcRect l="25561" t="-612" r="51687" b="6"/>
          <a:stretch/>
        </p:blipFill>
        <p:spPr>
          <a:xfrm>
            <a:off x="284939" y="373305"/>
            <a:ext cx="1034719" cy="1026453"/>
          </a:xfrm>
          <a:prstGeom prst="rect">
            <a:avLst/>
          </a:prstGeom>
        </p:spPr>
      </p:pic>
      <p:grpSp>
        <p:nvGrpSpPr>
          <p:cNvPr id="13" name="Group 12">
            <a:extLst>
              <a:ext uri="{FF2B5EF4-FFF2-40B4-BE49-F238E27FC236}">
                <a16:creationId xmlns:a16="http://schemas.microsoft.com/office/drawing/2014/main" id="{6E817D7E-94C8-D3EF-D451-67D3085B4214}"/>
              </a:ext>
            </a:extLst>
          </p:cNvPr>
          <p:cNvGrpSpPr/>
          <p:nvPr/>
        </p:nvGrpSpPr>
        <p:grpSpPr>
          <a:xfrm>
            <a:off x="81280" y="1828800"/>
            <a:ext cx="12115800" cy="4038600"/>
            <a:chOff x="81280" y="1828800"/>
            <a:chExt cx="12115800" cy="4038600"/>
          </a:xfrm>
        </p:grpSpPr>
        <p:pic>
          <p:nvPicPr>
            <p:cNvPr id="8" name="Picture 7">
              <a:extLst>
                <a:ext uri="{FF2B5EF4-FFF2-40B4-BE49-F238E27FC236}">
                  <a16:creationId xmlns:a16="http://schemas.microsoft.com/office/drawing/2014/main" id="{9F3B1A36-D3C8-1B5E-6922-D31C34612475}"/>
                </a:ext>
              </a:extLst>
            </p:cNvPr>
            <p:cNvPicPr>
              <a:picLocks noChangeAspect="1"/>
            </p:cNvPicPr>
            <p:nvPr/>
          </p:nvPicPr>
          <p:blipFill>
            <a:blip r:embed="rId3"/>
            <a:stretch>
              <a:fillRect/>
            </a:stretch>
          </p:blipFill>
          <p:spPr>
            <a:xfrm>
              <a:off x="81280" y="1828800"/>
              <a:ext cx="12115800" cy="4038600"/>
            </a:xfrm>
            <a:prstGeom prst="rect">
              <a:avLst/>
            </a:prstGeom>
          </p:spPr>
        </p:pic>
        <p:sp>
          <p:nvSpPr>
            <p:cNvPr id="9" name="TextBox 8">
              <a:extLst>
                <a:ext uri="{FF2B5EF4-FFF2-40B4-BE49-F238E27FC236}">
                  <a16:creationId xmlns:a16="http://schemas.microsoft.com/office/drawing/2014/main" id="{4196C99E-CEB4-062E-B73C-81C4DE39CAB1}"/>
                </a:ext>
              </a:extLst>
            </p:cNvPr>
            <p:cNvSpPr txBox="1"/>
            <p:nvPr/>
          </p:nvSpPr>
          <p:spPr>
            <a:xfrm>
              <a:off x="1219200" y="2486799"/>
              <a:ext cx="4191000" cy="553998"/>
            </a:xfrm>
            <a:prstGeom prst="rect">
              <a:avLst/>
            </a:prstGeom>
            <a:solidFill>
              <a:schemeClr val="bg1"/>
            </a:solidFill>
          </p:spPr>
          <p:txBody>
            <a:bodyPr wrap="square" lIns="0" tIns="0" rIns="0" bIns="0" rtlCol="0">
              <a:spAutoFit/>
            </a:bodyPr>
            <a:lstStyle/>
            <a:p>
              <a:pPr algn="ctr"/>
              <a:r>
                <a:rPr lang="vi-VN" sz="3600" b="1" dirty="0">
                  <a:solidFill>
                    <a:schemeClr val="accent2">
                      <a:lumMod val="50000"/>
                    </a:schemeClr>
                  </a:solidFill>
                  <a:latin typeface="Cambria" panose="02040503050406030204" pitchFamily="18" charset="0"/>
                  <a:ea typeface="Cambria" panose="02040503050406030204" pitchFamily="18" charset="0"/>
                </a:rPr>
                <a:t>Danh y Tuệ Tĩnh</a:t>
              </a:r>
              <a:endParaRPr lang="en-US" sz="3600" b="1" dirty="0">
                <a:solidFill>
                  <a:schemeClr val="accent2">
                    <a:lumMod val="50000"/>
                  </a:schemeClr>
                </a:solidFill>
                <a:latin typeface="Cambria" panose="02040503050406030204" pitchFamily="18" charset="0"/>
                <a:ea typeface="Cambria" panose="02040503050406030204" pitchFamily="18" charset="0"/>
              </a:endParaRPr>
            </a:p>
          </p:txBody>
        </p:sp>
        <p:sp>
          <p:nvSpPr>
            <p:cNvPr id="10" name="TextBox 9">
              <a:extLst>
                <a:ext uri="{FF2B5EF4-FFF2-40B4-BE49-F238E27FC236}">
                  <a16:creationId xmlns:a16="http://schemas.microsoft.com/office/drawing/2014/main" id="{3C15B297-AB5F-E85C-1C35-5A8703D07F4B}"/>
                </a:ext>
              </a:extLst>
            </p:cNvPr>
            <p:cNvSpPr txBox="1"/>
            <p:nvPr/>
          </p:nvSpPr>
          <p:spPr>
            <a:xfrm>
              <a:off x="7391400" y="2209800"/>
              <a:ext cx="3429000" cy="1107996"/>
            </a:xfrm>
            <a:prstGeom prst="rect">
              <a:avLst/>
            </a:prstGeom>
            <a:solidFill>
              <a:srgbClr val="667C88"/>
            </a:solidFill>
          </p:spPr>
          <p:txBody>
            <a:bodyPr wrap="square" lIns="0" tIns="0" rIns="0" bIns="0" rtlCol="0">
              <a:spAutoFit/>
            </a:bodyPr>
            <a:lstStyle/>
            <a:p>
              <a:pPr algn="ctr"/>
              <a:r>
                <a:rPr lang="vi-VN" sz="3600" b="1" dirty="0">
                  <a:solidFill>
                    <a:schemeClr val="bg1"/>
                  </a:solidFill>
                  <a:latin typeface="Cambria" panose="02040503050406030204" pitchFamily="18" charset="0"/>
                  <a:ea typeface="Cambria" panose="02040503050406030204" pitchFamily="18" charset="0"/>
                </a:rPr>
                <a:t>Người thầy của muôn đời</a:t>
              </a:r>
              <a:endParaRPr lang="en-US" sz="3600" b="1" dirty="0">
                <a:solidFill>
                  <a:schemeClr val="bg1"/>
                </a:solidFill>
                <a:latin typeface="Cambria" panose="02040503050406030204" pitchFamily="18" charset="0"/>
                <a:ea typeface="Cambria" panose="02040503050406030204" pitchFamily="18" charset="0"/>
              </a:endParaRPr>
            </a:p>
          </p:txBody>
        </p:sp>
        <p:sp>
          <p:nvSpPr>
            <p:cNvPr id="11" name="TextBox 10">
              <a:extLst>
                <a:ext uri="{FF2B5EF4-FFF2-40B4-BE49-F238E27FC236}">
                  <a16:creationId xmlns:a16="http://schemas.microsoft.com/office/drawing/2014/main" id="{A53DAD62-6C92-5C7B-1ED5-EC227B3A0DDA}"/>
                </a:ext>
              </a:extLst>
            </p:cNvPr>
            <p:cNvSpPr txBox="1"/>
            <p:nvPr/>
          </p:nvSpPr>
          <p:spPr>
            <a:xfrm>
              <a:off x="1319658" y="4419600"/>
              <a:ext cx="4191000" cy="553998"/>
            </a:xfrm>
            <a:prstGeom prst="rect">
              <a:avLst/>
            </a:prstGeom>
            <a:solidFill>
              <a:schemeClr val="bg1"/>
            </a:solidFill>
          </p:spPr>
          <p:txBody>
            <a:bodyPr wrap="square" lIns="0" tIns="0" rIns="0" bIns="0" rtlCol="0">
              <a:spAutoFit/>
            </a:bodyPr>
            <a:lstStyle/>
            <a:p>
              <a:pPr algn="ctr"/>
              <a:r>
                <a:rPr lang="vi-VN" sz="3600" b="1" dirty="0">
                  <a:solidFill>
                    <a:schemeClr val="accent4">
                      <a:lumMod val="75000"/>
                    </a:schemeClr>
                  </a:solidFill>
                  <a:latin typeface="Cambria" panose="02040503050406030204" pitchFamily="18" charset="0"/>
                  <a:ea typeface="Cambria" panose="02040503050406030204" pitchFamily="18" charset="0"/>
                </a:rPr>
                <a:t>Những con hạc giấy</a:t>
              </a:r>
              <a:endParaRPr lang="en-US" sz="3600" b="1" dirty="0">
                <a:solidFill>
                  <a:schemeClr val="accent4">
                    <a:lumMod val="75000"/>
                  </a:schemeClr>
                </a:solidFill>
                <a:latin typeface="Cambria" panose="02040503050406030204" pitchFamily="18" charset="0"/>
                <a:ea typeface="Cambria" panose="02040503050406030204" pitchFamily="18" charset="0"/>
              </a:endParaRPr>
            </a:p>
          </p:txBody>
        </p:sp>
        <p:sp>
          <p:nvSpPr>
            <p:cNvPr id="12" name="TextBox 11">
              <a:extLst>
                <a:ext uri="{FF2B5EF4-FFF2-40B4-BE49-F238E27FC236}">
                  <a16:creationId xmlns:a16="http://schemas.microsoft.com/office/drawing/2014/main" id="{C9A39AB0-668F-71C4-AFB0-5AEC9C5A2F39}"/>
                </a:ext>
              </a:extLst>
            </p:cNvPr>
            <p:cNvSpPr txBox="1"/>
            <p:nvPr/>
          </p:nvSpPr>
          <p:spPr>
            <a:xfrm>
              <a:off x="7391400" y="4191000"/>
              <a:ext cx="3785742" cy="1107996"/>
            </a:xfrm>
            <a:prstGeom prst="rect">
              <a:avLst/>
            </a:prstGeom>
            <a:solidFill>
              <a:schemeClr val="bg1"/>
            </a:solidFill>
          </p:spPr>
          <p:txBody>
            <a:bodyPr wrap="square" lIns="0" tIns="0" rIns="0" bIns="0" rtlCol="0">
              <a:spAutoFit/>
            </a:bodyPr>
            <a:lstStyle/>
            <a:p>
              <a:pPr algn="ctr"/>
              <a:r>
                <a:rPr lang="vi-VN" sz="3600" b="1" dirty="0">
                  <a:solidFill>
                    <a:schemeClr val="accent6">
                      <a:lumMod val="75000"/>
                    </a:schemeClr>
                  </a:solidFill>
                  <a:latin typeface="Cambria" panose="02040503050406030204" pitchFamily="18" charset="0"/>
                  <a:ea typeface="Cambria" panose="02040503050406030204" pitchFamily="18" charset="0"/>
                </a:rPr>
                <a:t>Một người hùng thầm lặng</a:t>
              </a:r>
              <a:endParaRPr lang="en-US" sz="3600" b="1" dirty="0">
                <a:solidFill>
                  <a:schemeClr val="accent6">
                    <a:lumMod val="75000"/>
                  </a:schemeClr>
                </a:solidFill>
                <a:latin typeface="Cambria" panose="02040503050406030204" pitchFamily="18" charset="0"/>
                <a:ea typeface="Cambria" panose="02040503050406030204" pitchFamily="18" charset="0"/>
              </a:endParaRPr>
            </a:p>
          </p:txBody>
        </p:sp>
      </p:grpSp>
    </p:spTree>
    <p:extLst>
      <p:ext uri="{BB962C8B-B14F-4D97-AF65-F5344CB8AC3E}">
        <p14:creationId xmlns:p14="http://schemas.microsoft.com/office/powerpoint/2010/main" val="199759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25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randombar(horizontal)">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kids reading books at a table&#10;&#10;AI-generated content may be incorrect.">
            <a:extLst>
              <a:ext uri="{FF2B5EF4-FFF2-40B4-BE49-F238E27FC236}">
                <a16:creationId xmlns:a16="http://schemas.microsoft.com/office/drawing/2014/main" id="{2A4F5093-97E8-65A9-6114-A6F023FE84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3200" y="3124200"/>
            <a:ext cx="6096000" cy="3648984"/>
          </a:xfrm>
          <a:prstGeom prst="rect">
            <a:avLst/>
          </a:prstGeom>
        </p:spPr>
      </p:pic>
      <p:sp>
        <p:nvSpPr>
          <p:cNvPr id="4" name="TextBox 3">
            <a:extLst>
              <a:ext uri="{FF2B5EF4-FFF2-40B4-BE49-F238E27FC236}">
                <a16:creationId xmlns:a16="http://schemas.microsoft.com/office/drawing/2014/main" id="{BEAFEFC6-02B7-1EE2-A316-9BEDF3F26FF3}"/>
              </a:ext>
            </a:extLst>
          </p:cNvPr>
          <p:cNvSpPr txBox="1"/>
          <p:nvPr/>
        </p:nvSpPr>
        <p:spPr>
          <a:xfrm>
            <a:off x="533400" y="381000"/>
            <a:ext cx="11201400" cy="2092881"/>
          </a:xfrm>
          <a:prstGeom prst="rect">
            <a:avLst/>
          </a:prstGeom>
          <a:noFill/>
        </p:spPr>
        <p:txBody>
          <a:bodyPr wrap="square" lIns="0" tIns="0" rIns="0" bIns="0" rtlCol="0">
            <a:spAutoFit/>
          </a:bodyPr>
          <a:lstStyle/>
          <a:p>
            <a:pPr marL="457200" indent="-457200" algn="just">
              <a:buFontTx/>
              <a:buChar char="-"/>
            </a:pPr>
            <a:r>
              <a:rPr lang="vi-VN" sz="3400" dirty="0">
                <a:latin typeface="Cambria" panose="02040503050406030204" pitchFamily="18" charset="0"/>
                <a:ea typeface="Cambria" panose="02040503050406030204" pitchFamily="18" charset="0"/>
              </a:rPr>
              <a:t>Thảo luận nhóm 4.</a:t>
            </a:r>
          </a:p>
          <a:p>
            <a:pPr marL="457200" indent="-457200" algn="just">
              <a:buFontTx/>
              <a:buChar char="-"/>
            </a:pPr>
            <a:r>
              <a:rPr lang="vi-VN" sz="3400" dirty="0">
                <a:latin typeface="Cambria" panose="02040503050406030204" pitchFamily="18" charset="0"/>
                <a:ea typeface="Cambria" panose="02040503050406030204" pitchFamily="18" charset="0"/>
              </a:rPr>
              <a:t>Lựa chọn câu chuyện, đọc lại văn bản.</a:t>
            </a:r>
          </a:p>
          <a:p>
            <a:pPr marL="457200" indent="-457200" algn="just">
              <a:buFontTx/>
              <a:buChar char="-"/>
            </a:pPr>
            <a:r>
              <a:rPr lang="vi-VN" sz="3400" dirty="0">
                <a:latin typeface="Cambria" panose="02040503050406030204" pitchFamily="18" charset="0"/>
                <a:ea typeface="Cambria" panose="02040503050406030204" pitchFamily="18" charset="0"/>
              </a:rPr>
              <a:t>Tóm tắt nội dung câu chuyện và nêu điều em tâm đắc.</a:t>
            </a:r>
          </a:p>
          <a:p>
            <a:pPr marL="457200" indent="-457200" algn="just">
              <a:buFontTx/>
              <a:buChar char="-"/>
            </a:pPr>
            <a:r>
              <a:rPr lang="vi-VN" sz="3400" dirty="0">
                <a:latin typeface="Cambria" panose="02040503050406030204" pitchFamily="18" charset="0"/>
                <a:ea typeface="Cambria" panose="02040503050406030204" pitchFamily="18" charset="0"/>
              </a:rPr>
              <a:t>Cả nhóm nhận xét, góp ý.</a:t>
            </a:r>
          </a:p>
        </p:txBody>
      </p:sp>
    </p:spTree>
    <p:extLst>
      <p:ext uri="{BB962C8B-B14F-4D97-AF65-F5344CB8AC3E}">
        <p14:creationId xmlns:p14="http://schemas.microsoft.com/office/powerpoint/2010/main" val="189912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barn(inVertical)">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4A0BBB-3A00-9863-453A-0266F9C849C1}"/>
              </a:ext>
            </a:extLst>
          </p:cNvPr>
          <p:cNvSpPr txBox="1"/>
          <p:nvPr/>
        </p:nvSpPr>
        <p:spPr>
          <a:xfrm>
            <a:off x="533400" y="381000"/>
            <a:ext cx="11201400" cy="492443"/>
          </a:xfrm>
          <a:prstGeom prst="rect">
            <a:avLst/>
          </a:prstGeom>
          <a:noFill/>
        </p:spPr>
        <p:txBody>
          <a:bodyPr wrap="square" lIns="0" tIns="0" rIns="0" bIns="0" rtlCol="0">
            <a:spAutoFit/>
          </a:bodyPr>
          <a:lstStyle/>
          <a:p>
            <a:pPr algn="just"/>
            <a:r>
              <a:rPr lang="vi-VN" sz="3200" b="1" dirty="0">
                <a:latin typeface="Cambria" panose="02040503050406030204" pitchFamily="18" charset="0"/>
                <a:ea typeface="Cambria" panose="02040503050406030204" pitchFamily="18" charset="0"/>
              </a:rPr>
              <a:t>Ví dụ: Câu chuyện </a:t>
            </a:r>
            <a:r>
              <a:rPr lang="vi-VN" sz="3200" b="1" dirty="0">
                <a:solidFill>
                  <a:schemeClr val="accent6">
                    <a:lumMod val="75000"/>
                  </a:schemeClr>
                </a:solidFill>
                <a:latin typeface="Cambria" panose="02040503050406030204" pitchFamily="18" charset="0"/>
                <a:ea typeface="Cambria" panose="02040503050406030204" pitchFamily="18" charset="0"/>
              </a:rPr>
              <a:t>Người thầy của muôn đời</a:t>
            </a:r>
          </a:p>
        </p:txBody>
      </p:sp>
      <p:sp>
        <p:nvSpPr>
          <p:cNvPr id="3" name="TextBox 2">
            <a:extLst>
              <a:ext uri="{FF2B5EF4-FFF2-40B4-BE49-F238E27FC236}">
                <a16:creationId xmlns:a16="http://schemas.microsoft.com/office/drawing/2014/main" id="{D6159CC1-AC7F-BFAE-4E25-2B054F3D9DB1}"/>
              </a:ext>
            </a:extLst>
          </p:cNvPr>
          <p:cNvSpPr txBox="1"/>
          <p:nvPr/>
        </p:nvSpPr>
        <p:spPr>
          <a:xfrm>
            <a:off x="495300" y="903606"/>
            <a:ext cx="11391900" cy="3231654"/>
          </a:xfrm>
          <a:prstGeom prst="rect">
            <a:avLst/>
          </a:prstGeom>
          <a:solidFill>
            <a:schemeClr val="accent2">
              <a:lumMod val="20000"/>
              <a:lumOff val="80000"/>
            </a:schemeClr>
          </a:solidFill>
        </p:spPr>
        <p:txBody>
          <a:bodyPr wrap="square" lIns="0" tIns="0" rIns="0" bIns="0" rtlCol="0">
            <a:spAutoFit/>
          </a:bodyPr>
          <a:lstStyle/>
          <a:p>
            <a:pPr algn="just"/>
            <a:r>
              <a:rPr lang="vi-VN" sz="3000" dirty="0">
                <a:latin typeface="Cambria" panose="02040503050406030204" pitchFamily="18" charset="0"/>
                <a:ea typeface="Cambria" panose="02040503050406030204" pitchFamily="18" charset="0"/>
              </a:rPr>
              <a:t>– Tóm tắt câu chuyện: Thầy Chu Văn An là nhà giáo nổi tiếng, được nhiều học trò theo học. Năm ấy, đến ngày mừng thọ cụ tròn sáu mươi tuổi, học trò bốn phương tề tựu thăm cụ, dâng biếu cụ quà. Cụ hỏi thăm công việc từng người, bảo ban học trò rồi dẫn học trò tới nhà thầy của mình. Học trò hàng lối đi theo, tới sân, cụ và các trò vái lạy thầy giáo già. Các học trò khi ấy được học bài học thấm thía về nghĩa thầy trò.</a:t>
            </a:r>
          </a:p>
        </p:txBody>
      </p:sp>
      <p:sp>
        <p:nvSpPr>
          <p:cNvPr id="4" name="TextBox 3">
            <a:extLst>
              <a:ext uri="{FF2B5EF4-FFF2-40B4-BE49-F238E27FC236}">
                <a16:creationId xmlns:a16="http://schemas.microsoft.com/office/drawing/2014/main" id="{CD4A57F8-E2C0-11F7-7913-314A1D09F208}"/>
              </a:ext>
            </a:extLst>
          </p:cNvPr>
          <p:cNvSpPr txBox="1"/>
          <p:nvPr/>
        </p:nvSpPr>
        <p:spPr>
          <a:xfrm>
            <a:off x="495300" y="4165423"/>
            <a:ext cx="11391900" cy="2308324"/>
          </a:xfrm>
          <a:prstGeom prst="rect">
            <a:avLst/>
          </a:prstGeom>
          <a:solidFill>
            <a:schemeClr val="accent4">
              <a:lumMod val="20000"/>
              <a:lumOff val="80000"/>
            </a:schemeClr>
          </a:solidFill>
        </p:spPr>
        <p:txBody>
          <a:bodyPr wrap="square" lIns="0" tIns="0" rIns="0" bIns="0" rtlCol="0">
            <a:spAutoFit/>
          </a:bodyPr>
          <a:lstStyle/>
          <a:p>
            <a:pPr algn="just"/>
            <a:r>
              <a:rPr lang="vi-VN" sz="3000" dirty="0">
                <a:latin typeface="Cambria" panose="02040503050406030204" pitchFamily="18" charset="0"/>
                <a:ea typeface="Cambria" panose="02040503050406030204" pitchFamily="18" charset="0"/>
              </a:rPr>
              <a:t>– Điều em tâm đắc nhất trong câu chuyện này là cụ giáo Chu dẫn tất cả trò của mình sang nhà thầy giáo cũ, vì em nghĩ cụ Chu không đi một mình, cùng rủ học trò có lẽ vì ý đồ tốt. Cụ muốn thầy học trò biết mình cũng trọng nghĩa thầy trò, không quên ơn người cũ; ý nhắc học trò cũng cần trọng nghĩa thầy trò đến suốt đời.</a:t>
            </a:r>
          </a:p>
        </p:txBody>
      </p:sp>
    </p:spTree>
    <p:extLst>
      <p:ext uri="{BB962C8B-B14F-4D97-AF65-F5344CB8AC3E}">
        <p14:creationId xmlns:p14="http://schemas.microsoft.com/office/powerpoint/2010/main" val="155927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951B93-C76B-064A-9A6D-5D8FA57B856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57F71A3-B414-42B9-DB9B-14989BE4257C}"/>
              </a:ext>
            </a:extLst>
          </p:cNvPr>
          <p:cNvSpPr txBox="1"/>
          <p:nvPr/>
        </p:nvSpPr>
        <p:spPr>
          <a:xfrm>
            <a:off x="533400" y="304800"/>
            <a:ext cx="11201400" cy="492443"/>
          </a:xfrm>
          <a:prstGeom prst="rect">
            <a:avLst/>
          </a:prstGeom>
          <a:noFill/>
        </p:spPr>
        <p:txBody>
          <a:bodyPr wrap="square" lIns="0" tIns="0" rIns="0" bIns="0" rtlCol="0">
            <a:spAutoFit/>
          </a:bodyPr>
          <a:lstStyle/>
          <a:p>
            <a:pPr algn="just"/>
            <a:r>
              <a:rPr lang="vi-VN" sz="3200" b="1" dirty="0">
                <a:latin typeface="Cambria" panose="02040503050406030204" pitchFamily="18" charset="0"/>
                <a:ea typeface="Cambria" panose="02040503050406030204" pitchFamily="18" charset="0"/>
              </a:rPr>
              <a:t>Ví dụ: Câu chuyện </a:t>
            </a:r>
            <a:r>
              <a:rPr lang="vi-VN" sz="3200" b="1" dirty="0">
                <a:solidFill>
                  <a:schemeClr val="accent6">
                    <a:lumMod val="75000"/>
                  </a:schemeClr>
                </a:solidFill>
                <a:latin typeface="Cambria" panose="02040503050406030204" pitchFamily="18" charset="0"/>
                <a:ea typeface="Cambria" panose="02040503050406030204" pitchFamily="18" charset="0"/>
              </a:rPr>
              <a:t>Những con hạc giấy</a:t>
            </a:r>
          </a:p>
        </p:txBody>
      </p:sp>
      <p:sp>
        <p:nvSpPr>
          <p:cNvPr id="3" name="TextBox 2">
            <a:extLst>
              <a:ext uri="{FF2B5EF4-FFF2-40B4-BE49-F238E27FC236}">
                <a16:creationId xmlns:a16="http://schemas.microsoft.com/office/drawing/2014/main" id="{E26D29BF-D835-A5FF-4808-6B5D582804C1}"/>
              </a:ext>
            </a:extLst>
          </p:cNvPr>
          <p:cNvSpPr txBox="1"/>
          <p:nvPr/>
        </p:nvSpPr>
        <p:spPr>
          <a:xfrm>
            <a:off x="457200" y="838200"/>
            <a:ext cx="11430000" cy="3947234"/>
          </a:xfrm>
          <a:prstGeom prst="rect">
            <a:avLst/>
          </a:prstGeom>
          <a:solidFill>
            <a:schemeClr val="accent2">
              <a:lumMod val="20000"/>
              <a:lumOff val="80000"/>
            </a:schemeClr>
          </a:solidFill>
        </p:spPr>
        <p:txBody>
          <a:bodyPr wrap="square" lIns="0" tIns="0" rIns="0" bIns="0" rtlCol="0">
            <a:spAutoFit/>
          </a:bodyPr>
          <a:lstStyle/>
          <a:p>
            <a:pPr algn="just"/>
            <a:r>
              <a:rPr lang="vi-VN" sz="2850" dirty="0">
                <a:latin typeface="Cambria" panose="02040503050406030204" pitchFamily="18" charset="0"/>
                <a:ea typeface="Cambria" panose="02040503050406030204" pitchFamily="18" charset="0"/>
              </a:rPr>
              <a:t>– Tóm tắt câu chuyện: Sau khi nước Mỹ chế tạo hai quả bom nguyên tử đã quyết định đem ném xuống hai thành phố lớn của Nhật Bản. Hậu quả làm nửa triệu người chết và nhiễm phóng xạ, trong đó có câu chuyện của Xa-xa-ki Xa-da-cô mới hai tuổi cũng bị nhiễm phóng xạ. Cô bé nghĩ và tin vào kì tích sau khi gấp một nghìn con hạc giấy để đổi lấy một điều ước. Nghe tin, nhiều bạn nhỏ khắp nước Nhật cũng gửi hạc giấy về cho bé. Song, cái chết vẫn đến với em. Học sinh toàn thành phố quyên góp tiền xây đài tưởng niệm những nạn nhân của cả nước, trong đó có mô phỏng hình ảnh Xa-da-cô.</a:t>
            </a:r>
          </a:p>
        </p:txBody>
      </p:sp>
      <p:sp>
        <p:nvSpPr>
          <p:cNvPr id="4" name="TextBox 3">
            <a:extLst>
              <a:ext uri="{FF2B5EF4-FFF2-40B4-BE49-F238E27FC236}">
                <a16:creationId xmlns:a16="http://schemas.microsoft.com/office/drawing/2014/main" id="{6256D197-ECFE-A617-9FA0-3BC9B4CEB04A}"/>
              </a:ext>
            </a:extLst>
          </p:cNvPr>
          <p:cNvSpPr txBox="1"/>
          <p:nvPr/>
        </p:nvSpPr>
        <p:spPr>
          <a:xfrm>
            <a:off x="419100" y="4829651"/>
            <a:ext cx="11468100" cy="1754326"/>
          </a:xfrm>
          <a:prstGeom prst="rect">
            <a:avLst/>
          </a:prstGeom>
          <a:solidFill>
            <a:schemeClr val="accent4">
              <a:lumMod val="20000"/>
              <a:lumOff val="80000"/>
            </a:schemeClr>
          </a:solidFill>
        </p:spPr>
        <p:txBody>
          <a:bodyPr wrap="square" lIns="0" tIns="0" rIns="0" bIns="0" rtlCol="0">
            <a:spAutoFit/>
          </a:bodyPr>
          <a:lstStyle/>
          <a:p>
            <a:pPr algn="just"/>
            <a:r>
              <a:rPr lang="vi-VN" sz="2850" dirty="0">
                <a:latin typeface="Cambria" panose="02040503050406030204" pitchFamily="18" charset="0"/>
                <a:ea typeface="Cambria" panose="02040503050406030204" pitchFamily="18" charset="0"/>
              </a:rPr>
              <a:t>– Điều em tâm đắc nhất trong câu chuyện này là trẻ em khắp cả nước Nhật đã gửi hàng nghìn con hạc giấy đến cho Xa-đa-cô. Vì điều ước khi gấp một nghìn con hạc giấy không có thật, nhưng vì Xa-đa-cô tin, trẻ em cũng muốn ủng hộ và an ủi nên cùng tin tưởng, chỉ tiếc điều ước ấy không có thực. </a:t>
            </a:r>
          </a:p>
        </p:txBody>
      </p:sp>
    </p:spTree>
    <p:extLst>
      <p:ext uri="{BB962C8B-B14F-4D97-AF65-F5344CB8AC3E}">
        <p14:creationId xmlns:p14="http://schemas.microsoft.com/office/powerpoint/2010/main" val="267271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2213F73-CD10-C3B4-D185-7B6239A2496D}"/>
              </a:ext>
            </a:extLst>
          </p:cNvPr>
          <p:cNvGrpSpPr/>
          <p:nvPr/>
        </p:nvGrpSpPr>
        <p:grpSpPr>
          <a:xfrm>
            <a:off x="1145939" y="367967"/>
            <a:ext cx="10591799" cy="761667"/>
            <a:chOff x="4748249" y="2099968"/>
            <a:chExt cx="6774939" cy="3017031"/>
          </a:xfrm>
        </p:grpSpPr>
        <p:sp>
          <p:nvSpPr>
            <p:cNvPr id="3" name="Rectangle: Rounded Corners 2">
              <a:extLst>
                <a:ext uri="{FF2B5EF4-FFF2-40B4-BE49-F238E27FC236}">
                  <a16:creationId xmlns:a16="http://schemas.microsoft.com/office/drawing/2014/main" id="{7DDA0280-1E27-029A-ADFE-DA42B7F93D72}"/>
                </a:ext>
              </a:extLst>
            </p:cNvPr>
            <p:cNvSpPr/>
            <p:nvPr/>
          </p:nvSpPr>
          <p:spPr>
            <a:xfrm>
              <a:off x="4748249" y="2099968"/>
              <a:ext cx="6774939" cy="3017031"/>
            </a:xfrm>
            <a:custGeom>
              <a:avLst/>
              <a:gdLst>
                <a:gd name="connsiteX0" fmla="*/ 0 w 6774939"/>
                <a:gd name="connsiteY0" fmla="*/ 127470 h 3017031"/>
                <a:gd name="connsiteX1" fmla="*/ 127470 w 6774939"/>
                <a:gd name="connsiteY1" fmla="*/ 0 h 3017031"/>
                <a:gd name="connsiteX2" fmla="*/ 844670 w 6774939"/>
                <a:gd name="connsiteY2" fmla="*/ 0 h 3017031"/>
                <a:gd name="connsiteX3" fmla="*/ 1627070 w 6774939"/>
                <a:gd name="connsiteY3" fmla="*/ 0 h 3017031"/>
                <a:gd name="connsiteX4" fmla="*/ 2409470 w 6774939"/>
                <a:gd name="connsiteY4" fmla="*/ 0 h 3017031"/>
                <a:gd name="connsiteX5" fmla="*/ 2931070 w 6774939"/>
                <a:gd name="connsiteY5" fmla="*/ 0 h 3017031"/>
                <a:gd name="connsiteX6" fmla="*/ 3583069 w 6774939"/>
                <a:gd name="connsiteY6" fmla="*/ 0 h 3017031"/>
                <a:gd name="connsiteX7" fmla="*/ 4039469 w 6774939"/>
                <a:gd name="connsiteY7" fmla="*/ 0 h 3017031"/>
                <a:gd name="connsiteX8" fmla="*/ 4691469 w 6774939"/>
                <a:gd name="connsiteY8" fmla="*/ 0 h 3017031"/>
                <a:gd name="connsiteX9" fmla="*/ 5147869 w 6774939"/>
                <a:gd name="connsiteY9" fmla="*/ 0 h 3017031"/>
                <a:gd name="connsiteX10" fmla="*/ 5669469 w 6774939"/>
                <a:gd name="connsiteY10" fmla="*/ 0 h 3017031"/>
                <a:gd name="connsiteX11" fmla="*/ 6647469 w 6774939"/>
                <a:gd name="connsiteY11" fmla="*/ 0 h 3017031"/>
                <a:gd name="connsiteX12" fmla="*/ 6774939 w 6774939"/>
                <a:gd name="connsiteY12" fmla="*/ 127470 h 3017031"/>
                <a:gd name="connsiteX13" fmla="*/ 6774939 w 6774939"/>
                <a:gd name="connsiteY13" fmla="*/ 845614 h 3017031"/>
                <a:gd name="connsiteX14" fmla="*/ 6774939 w 6774939"/>
                <a:gd name="connsiteY14" fmla="*/ 1508516 h 3017031"/>
                <a:gd name="connsiteX15" fmla="*/ 6774939 w 6774939"/>
                <a:gd name="connsiteY15" fmla="*/ 2143796 h 3017031"/>
                <a:gd name="connsiteX16" fmla="*/ 6774939 w 6774939"/>
                <a:gd name="connsiteY16" fmla="*/ 2889561 h 3017031"/>
                <a:gd name="connsiteX17" fmla="*/ 6647469 w 6774939"/>
                <a:gd name="connsiteY17" fmla="*/ 3017031 h 3017031"/>
                <a:gd name="connsiteX18" fmla="*/ 5865069 w 6774939"/>
                <a:gd name="connsiteY18" fmla="*/ 3017031 h 3017031"/>
                <a:gd name="connsiteX19" fmla="*/ 5278269 w 6774939"/>
                <a:gd name="connsiteY19" fmla="*/ 3017031 h 3017031"/>
                <a:gd name="connsiteX20" fmla="*/ 4821869 w 6774939"/>
                <a:gd name="connsiteY20" fmla="*/ 3017031 h 3017031"/>
                <a:gd name="connsiteX21" fmla="*/ 4039469 w 6774939"/>
                <a:gd name="connsiteY21" fmla="*/ 3017031 h 3017031"/>
                <a:gd name="connsiteX22" fmla="*/ 3583069 w 6774939"/>
                <a:gd name="connsiteY22" fmla="*/ 3017031 h 3017031"/>
                <a:gd name="connsiteX23" fmla="*/ 2800670 w 6774939"/>
                <a:gd name="connsiteY23" fmla="*/ 3017031 h 3017031"/>
                <a:gd name="connsiteX24" fmla="*/ 2018270 w 6774939"/>
                <a:gd name="connsiteY24" fmla="*/ 3017031 h 3017031"/>
                <a:gd name="connsiteX25" fmla="*/ 1366270 w 6774939"/>
                <a:gd name="connsiteY25" fmla="*/ 3017031 h 3017031"/>
                <a:gd name="connsiteX26" fmla="*/ 127470 w 6774939"/>
                <a:gd name="connsiteY26" fmla="*/ 3017031 h 3017031"/>
                <a:gd name="connsiteX27" fmla="*/ 0 w 6774939"/>
                <a:gd name="connsiteY27" fmla="*/ 2889561 h 3017031"/>
                <a:gd name="connsiteX28" fmla="*/ 0 w 6774939"/>
                <a:gd name="connsiteY28" fmla="*/ 2171417 h 3017031"/>
                <a:gd name="connsiteX29" fmla="*/ 0 w 6774939"/>
                <a:gd name="connsiteY29" fmla="*/ 1563757 h 3017031"/>
                <a:gd name="connsiteX30" fmla="*/ 0 w 6774939"/>
                <a:gd name="connsiteY30" fmla="*/ 928476 h 3017031"/>
                <a:gd name="connsiteX31" fmla="*/ 0 w 6774939"/>
                <a:gd name="connsiteY31" fmla="*/ 127470 h 301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4939" h="3017031" fill="none" extrusionOk="0">
                  <a:moveTo>
                    <a:pt x="0" y="127470"/>
                  </a:moveTo>
                  <a:cubicBezTo>
                    <a:pt x="12920" y="48569"/>
                    <a:pt x="61107" y="5571"/>
                    <a:pt x="127470" y="0"/>
                  </a:cubicBezTo>
                  <a:cubicBezTo>
                    <a:pt x="325538" y="-31289"/>
                    <a:pt x="654436" y="-2683"/>
                    <a:pt x="844670" y="0"/>
                  </a:cubicBezTo>
                  <a:cubicBezTo>
                    <a:pt x="1034904" y="2683"/>
                    <a:pt x="1445504" y="-8332"/>
                    <a:pt x="1627070" y="0"/>
                  </a:cubicBezTo>
                  <a:cubicBezTo>
                    <a:pt x="1808636" y="8332"/>
                    <a:pt x="2167601" y="2359"/>
                    <a:pt x="2409470" y="0"/>
                  </a:cubicBezTo>
                  <a:cubicBezTo>
                    <a:pt x="2651339" y="-2359"/>
                    <a:pt x="2702577" y="-6911"/>
                    <a:pt x="2931070" y="0"/>
                  </a:cubicBezTo>
                  <a:cubicBezTo>
                    <a:pt x="3159563" y="6911"/>
                    <a:pt x="3302552" y="7288"/>
                    <a:pt x="3583069" y="0"/>
                  </a:cubicBezTo>
                  <a:cubicBezTo>
                    <a:pt x="3863586" y="-7288"/>
                    <a:pt x="3854235" y="21007"/>
                    <a:pt x="4039469" y="0"/>
                  </a:cubicBezTo>
                  <a:cubicBezTo>
                    <a:pt x="4224703" y="-21007"/>
                    <a:pt x="4388094" y="-18758"/>
                    <a:pt x="4691469" y="0"/>
                  </a:cubicBezTo>
                  <a:cubicBezTo>
                    <a:pt x="4994844" y="18758"/>
                    <a:pt x="5032506" y="-13084"/>
                    <a:pt x="5147869" y="0"/>
                  </a:cubicBezTo>
                  <a:cubicBezTo>
                    <a:pt x="5263232" y="13084"/>
                    <a:pt x="5436425" y="22998"/>
                    <a:pt x="5669469" y="0"/>
                  </a:cubicBezTo>
                  <a:cubicBezTo>
                    <a:pt x="5902513" y="-22998"/>
                    <a:pt x="6191193" y="-36074"/>
                    <a:pt x="6647469" y="0"/>
                  </a:cubicBezTo>
                  <a:cubicBezTo>
                    <a:pt x="6730544" y="322"/>
                    <a:pt x="6785203" y="66030"/>
                    <a:pt x="6774939" y="127470"/>
                  </a:cubicBezTo>
                  <a:cubicBezTo>
                    <a:pt x="6740033" y="289831"/>
                    <a:pt x="6748077" y="571923"/>
                    <a:pt x="6774939" y="845614"/>
                  </a:cubicBezTo>
                  <a:cubicBezTo>
                    <a:pt x="6801801" y="1119305"/>
                    <a:pt x="6791605" y="1280918"/>
                    <a:pt x="6774939" y="1508516"/>
                  </a:cubicBezTo>
                  <a:cubicBezTo>
                    <a:pt x="6758273" y="1736114"/>
                    <a:pt x="6776448" y="1869450"/>
                    <a:pt x="6774939" y="2143796"/>
                  </a:cubicBezTo>
                  <a:cubicBezTo>
                    <a:pt x="6773430" y="2418142"/>
                    <a:pt x="6799674" y="2700531"/>
                    <a:pt x="6774939" y="2889561"/>
                  </a:cubicBezTo>
                  <a:cubicBezTo>
                    <a:pt x="6781714" y="2960429"/>
                    <a:pt x="6716317" y="3008417"/>
                    <a:pt x="6647469" y="3017031"/>
                  </a:cubicBezTo>
                  <a:cubicBezTo>
                    <a:pt x="6297261" y="2982756"/>
                    <a:pt x="6099464" y="2987502"/>
                    <a:pt x="5865069" y="3017031"/>
                  </a:cubicBezTo>
                  <a:cubicBezTo>
                    <a:pt x="5630674" y="3046560"/>
                    <a:pt x="5427019" y="3002827"/>
                    <a:pt x="5278269" y="3017031"/>
                  </a:cubicBezTo>
                  <a:cubicBezTo>
                    <a:pt x="5129519" y="3031235"/>
                    <a:pt x="4980597" y="3031111"/>
                    <a:pt x="4821869" y="3017031"/>
                  </a:cubicBezTo>
                  <a:cubicBezTo>
                    <a:pt x="4663141" y="3002951"/>
                    <a:pt x="4303565" y="3025750"/>
                    <a:pt x="4039469" y="3017031"/>
                  </a:cubicBezTo>
                  <a:cubicBezTo>
                    <a:pt x="3775373" y="3008312"/>
                    <a:pt x="3790546" y="3030654"/>
                    <a:pt x="3583069" y="3017031"/>
                  </a:cubicBezTo>
                  <a:cubicBezTo>
                    <a:pt x="3375592" y="3003408"/>
                    <a:pt x="2983057" y="2993627"/>
                    <a:pt x="2800670" y="3017031"/>
                  </a:cubicBezTo>
                  <a:cubicBezTo>
                    <a:pt x="2618283" y="3040435"/>
                    <a:pt x="2331603" y="3024894"/>
                    <a:pt x="2018270" y="3017031"/>
                  </a:cubicBezTo>
                  <a:cubicBezTo>
                    <a:pt x="1704937" y="3009168"/>
                    <a:pt x="1659470" y="3012160"/>
                    <a:pt x="1366270" y="3017031"/>
                  </a:cubicBezTo>
                  <a:cubicBezTo>
                    <a:pt x="1073070" y="3021902"/>
                    <a:pt x="662358" y="2958681"/>
                    <a:pt x="127470" y="3017031"/>
                  </a:cubicBezTo>
                  <a:cubicBezTo>
                    <a:pt x="59452" y="3020578"/>
                    <a:pt x="9501" y="2967414"/>
                    <a:pt x="0" y="2889561"/>
                  </a:cubicBezTo>
                  <a:cubicBezTo>
                    <a:pt x="9722" y="2637548"/>
                    <a:pt x="26295" y="2322361"/>
                    <a:pt x="0" y="2171417"/>
                  </a:cubicBezTo>
                  <a:cubicBezTo>
                    <a:pt x="-26295" y="2020473"/>
                    <a:pt x="29365" y="1820889"/>
                    <a:pt x="0" y="1563757"/>
                  </a:cubicBezTo>
                  <a:cubicBezTo>
                    <a:pt x="-29365" y="1306625"/>
                    <a:pt x="-23561" y="1121486"/>
                    <a:pt x="0" y="928476"/>
                  </a:cubicBezTo>
                  <a:cubicBezTo>
                    <a:pt x="23561" y="735466"/>
                    <a:pt x="34333" y="458426"/>
                    <a:pt x="0" y="127470"/>
                  </a:cubicBezTo>
                  <a:close/>
                </a:path>
                <a:path w="6774939" h="3017031" stroke="0" extrusionOk="0">
                  <a:moveTo>
                    <a:pt x="0" y="127470"/>
                  </a:moveTo>
                  <a:cubicBezTo>
                    <a:pt x="12833" y="63171"/>
                    <a:pt x="52273" y="-3714"/>
                    <a:pt x="127470" y="0"/>
                  </a:cubicBezTo>
                  <a:cubicBezTo>
                    <a:pt x="297372" y="-232"/>
                    <a:pt x="636483" y="6434"/>
                    <a:pt x="779470" y="0"/>
                  </a:cubicBezTo>
                  <a:cubicBezTo>
                    <a:pt x="922457" y="-6434"/>
                    <a:pt x="1199548" y="27121"/>
                    <a:pt x="1366270" y="0"/>
                  </a:cubicBezTo>
                  <a:cubicBezTo>
                    <a:pt x="1532992" y="-27121"/>
                    <a:pt x="1643453" y="15739"/>
                    <a:pt x="1822670" y="0"/>
                  </a:cubicBezTo>
                  <a:cubicBezTo>
                    <a:pt x="2001887" y="-15739"/>
                    <a:pt x="2241476" y="30395"/>
                    <a:pt x="2539870" y="0"/>
                  </a:cubicBezTo>
                  <a:cubicBezTo>
                    <a:pt x="2838264" y="-30395"/>
                    <a:pt x="2936910" y="-5796"/>
                    <a:pt x="3257070" y="0"/>
                  </a:cubicBezTo>
                  <a:cubicBezTo>
                    <a:pt x="3577230" y="5796"/>
                    <a:pt x="3543012" y="22787"/>
                    <a:pt x="3713469" y="0"/>
                  </a:cubicBezTo>
                  <a:cubicBezTo>
                    <a:pt x="3883926" y="-22787"/>
                    <a:pt x="4322944" y="-17837"/>
                    <a:pt x="4495869" y="0"/>
                  </a:cubicBezTo>
                  <a:cubicBezTo>
                    <a:pt x="4668794" y="17837"/>
                    <a:pt x="4847916" y="13346"/>
                    <a:pt x="4952269" y="0"/>
                  </a:cubicBezTo>
                  <a:cubicBezTo>
                    <a:pt x="5056622" y="-13346"/>
                    <a:pt x="5341760" y="-24799"/>
                    <a:pt x="5604269" y="0"/>
                  </a:cubicBezTo>
                  <a:cubicBezTo>
                    <a:pt x="5866778" y="24799"/>
                    <a:pt x="6414489" y="-2116"/>
                    <a:pt x="6647469" y="0"/>
                  </a:cubicBezTo>
                  <a:cubicBezTo>
                    <a:pt x="6709292" y="-14908"/>
                    <a:pt x="6776644" y="51273"/>
                    <a:pt x="6774939" y="127470"/>
                  </a:cubicBezTo>
                  <a:cubicBezTo>
                    <a:pt x="6803364" y="461459"/>
                    <a:pt x="6797945" y="700786"/>
                    <a:pt x="6774939" y="873235"/>
                  </a:cubicBezTo>
                  <a:cubicBezTo>
                    <a:pt x="6751933" y="1045685"/>
                    <a:pt x="6803207" y="1247527"/>
                    <a:pt x="6774939" y="1618999"/>
                  </a:cubicBezTo>
                  <a:cubicBezTo>
                    <a:pt x="6746671" y="1990471"/>
                    <a:pt x="6744155" y="2430385"/>
                    <a:pt x="6774939" y="2889561"/>
                  </a:cubicBezTo>
                  <a:cubicBezTo>
                    <a:pt x="6773354" y="2952263"/>
                    <a:pt x="6720503" y="3022594"/>
                    <a:pt x="6647469" y="3017031"/>
                  </a:cubicBezTo>
                  <a:cubicBezTo>
                    <a:pt x="6362218" y="3015904"/>
                    <a:pt x="6345756" y="3025508"/>
                    <a:pt x="6060669" y="3017031"/>
                  </a:cubicBezTo>
                  <a:cubicBezTo>
                    <a:pt x="5775582" y="3008554"/>
                    <a:pt x="5745382" y="2995046"/>
                    <a:pt x="5604269" y="3017031"/>
                  </a:cubicBezTo>
                  <a:cubicBezTo>
                    <a:pt x="5463156" y="3039016"/>
                    <a:pt x="5096216" y="3008714"/>
                    <a:pt x="4952269" y="3017031"/>
                  </a:cubicBezTo>
                  <a:cubicBezTo>
                    <a:pt x="4808322" y="3025348"/>
                    <a:pt x="4456338" y="2981671"/>
                    <a:pt x="4235069" y="3017031"/>
                  </a:cubicBezTo>
                  <a:cubicBezTo>
                    <a:pt x="4013800" y="3052391"/>
                    <a:pt x="3814909" y="3043160"/>
                    <a:pt x="3517869" y="3017031"/>
                  </a:cubicBezTo>
                  <a:cubicBezTo>
                    <a:pt x="3220829" y="2990902"/>
                    <a:pt x="3189898" y="3028590"/>
                    <a:pt x="3061470" y="3017031"/>
                  </a:cubicBezTo>
                  <a:cubicBezTo>
                    <a:pt x="2933042" y="3005472"/>
                    <a:pt x="2709986" y="3007591"/>
                    <a:pt x="2539870" y="3017031"/>
                  </a:cubicBezTo>
                  <a:cubicBezTo>
                    <a:pt x="2369754" y="3026471"/>
                    <a:pt x="2226282" y="3014671"/>
                    <a:pt x="2018270" y="3017031"/>
                  </a:cubicBezTo>
                  <a:cubicBezTo>
                    <a:pt x="1810258" y="3019391"/>
                    <a:pt x="1554719" y="3022335"/>
                    <a:pt x="1301070" y="3017031"/>
                  </a:cubicBezTo>
                  <a:cubicBezTo>
                    <a:pt x="1047421" y="3011727"/>
                    <a:pt x="511667" y="2997995"/>
                    <a:pt x="127470" y="3017031"/>
                  </a:cubicBezTo>
                  <a:cubicBezTo>
                    <a:pt x="66594" y="3028757"/>
                    <a:pt x="1038" y="2949618"/>
                    <a:pt x="0" y="2889561"/>
                  </a:cubicBezTo>
                  <a:cubicBezTo>
                    <a:pt x="-15881" y="2681638"/>
                    <a:pt x="-6019" y="2573251"/>
                    <a:pt x="0" y="2281901"/>
                  </a:cubicBezTo>
                  <a:cubicBezTo>
                    <a:pt x="6019" y="1990551"/>
                    <a:pt x="5726" y="1913470"/>
                    <a:pt x="0" y="1618999"/>
                  </a:cubicBezTo>
                  <a:cubicBezTo>
                    <a:pt x="-5726" y="1324528"/>
                    <a:pt x="-5298" y="1290225"/>
                    <a:pt x="0" y="1011339"/>
                  </a:cubicBezTo>
                  <a:cubicBezTo>
                    <a:pt x="5298" y="732453"/>
                    <a:pt x="-33095" y="312617"/>
                    <a:pt x="0" y="127470"/>
                  </a:cubicBezTo>
                  <a:close/>
                </a:path>
              </a:pathLst>
            </a:custGeom>
            <a:solidFill>
              <a:schemeClr val="bg1">
                <a:alpha val="85000"/>
              </a:schemeClr>
            </a:solidFill>
            <a:ln w="38100">
              <a:solidFill>
                <a:schemeClr val="tx1"/>
              </a:solidFill>
              <a:extLst>
                <a:ext uri="{C807C97D-BFC1-408E-A445-0C87EB9F89A2}">
                  <ask:lineSketchStyleProps xmlns:ask="http://schemas.microsoft.com/office/drawing/2018/sketchyshapes" sd="1860289983">
                    <a:prstGeom prst="roundRect">
                      <a:avLst>
                        <a:gd name="adj" fmla="val 4225"/>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9Slide02 Noi dung dai"/>
                <a:ea typeface="+mn-ea"/>
                <a:cs typeface="+mn-cs"/>
              </a:endParaRPr>
            </a:p>
          </p:txBody>
        </p:sp>
        <p:sp>
          <p:nvSpPr>
            <p:cNvPr id="4" name="TextBox 3">
              <a:extLst>
                <a:ext uri="{FF2B5EF4-FFF2-40B4-BE49-F238E27FC236}">
                  <a16:creationId xmlns:a16="http://schemas.microsoft.com/office/drawing/2014/main" id="{C21AEF44-0F6D-2CF5-64A1-23185393D450}"/>
                </a:ext>
              </a:extLst>
            </p:cNvPr>
            <p:cNvSpPr txBox="1"/>
            <p:nvPr/>
          </p:nvSpPr>
          <p:spPr>
            <a:xfrm>
              <a:off x="4990072" y="2467106"/>
              <a:ext cx="5610524" cy="21944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i="0" dirty="0" err="1">
                  <a:solidFill>
                    <a:schemeClr val="accent5">
                      <a:lumMod val="75000"/>
                    </a:schemeClr>
                  </a:solidFill>
                  <a:effectLst/>
                  <a:latin typeface="Cambria" panose="02040503050406030204" pitchFamily="18" charset="0"/>
                  <a:ea typeface="Cambria" panose="02040503050406030204" pitchFamily="18" charset="0"/>
                </a:rPr>
                <a:t>Chọn</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từ</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thích</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hợp</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thay</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cho</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mỗi</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bông</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hoa</a:t>
              </a:r>
              <a:r>
                <a:rPr lang="en-US" sz="3600" b="1" i="0" dirty="0">
                  <a:solidFill>
                    <a:schemeClr val="accent5">
                      <a:lumMod val="75000"/>
                    </a:schemeClr>
                  </a:solidFill>
                  <a:effectLst/>
                  <a:latin typeface="Cambria" panose="02040503050406030204" pitchFamily="18" charset="0"/>
                  <a:ea typeface="Cambria" panose="02040503050406030204" pitchFamily="18" charset="0"/>
                </a:rPr>
                <a:t>.</a:t>
              </a:r>
              <a:endParaRPr kumimoji="0" lang="en-US" sz="3600" b="1" i="0" u="none" strike="noStrike" kern="1200" cap="none" spc="0" normalizeH="0" baseline="0" noProof="0" dirty="0">
                <a:ln>
                  <a:noFill/>
                </a:ln>
                <a:solidFill>
                  <a:schemeClr val="accent5">
                    <a:lumMod val="75000"/>
                  </a:schemeClr>
                </a:solidFill>
                <a:effectLst/>
                <a:uLnTx/>
                <a:uFillTx/>
                <a:latin typeface="Cambria" panose="02040503050406030204" pitchFamily="18" charset="0"/>
                <a:ea typeface="Cambria" panose="02040503050406030204" pitchFamily="18" charset="0"/>
                <a:cs typeface="Mali Medium" panose="00000600000000000000" pitchFamily="2" charset="-34"/>
              </a:endParaRPr>
            </a:p>
          </p:txBody>
        </p:sp>
      </p:grpSp>
      <p:pic>
        <p:nvPicPr>
          <p:cNvPr id="5" name="Picture 4">
            <a:extLst>
              <a:ext uri="{FF2B5EF4-FFF2-40B4-BE49-F238E27FC236}">
                <a16:creationId xmlns:a16="http://schemas.microsoft.com/office/drawing/2014/main" id="{A25A6F34-BD77-F394-D90C-BA255D06CE79}"/>
              </a:ext>
            </a:extLst>
          </p:cNvPr>
          <p:cNvPicPr>
            <a:picLocks noChangeAspect="1"/>
          </p:cNvPicPr>
          <p:nvPr/>
        </p:nvPicPr>
        <p:blipFill rotWithShape="1">
          <a:blip r:embed="rId5">
            <a:extLst>
              <a:ext uri="{28A0092B-C50C-407E-A947-70E740481C1C}">
                <a14:useLocalDpi xmlns:a14="http://schemas.microsoft.com/office/drawing/2010/main" val="0"/>
              </a:ext>
            </a:extLst>
          </a:blip>
          <a:srcRect l="51609" t="-424" r="25639" b="-182"/>
          <a:stretch/>
        </p:blipFill>
        <p:spPr>
          <a:xfrm>
            <a:off x="304800" y="228600"/>
            <a:ext cx="1048778" cy="1040400"/>
          </a:xfrm>
          <a:prstGeom prst="rect">
            <a:avLst/>
          </a:prstGeom>
        </p:spPr>
      </p:pic>
      <p:sp>
        <p:nvSpPr>
          <p:cNvPr id="6" name="图形">
            <a:extLst>
              <a:ext uri="{FF2B5EF4-FFF2-40B4-BE49-F238E27FC236}">
                <a16:creationId xmlns:a16="http://schemas.microsoft.com/office/drawing/2014/main" id="{FC1BE34D-702D-93A3-4ECC-9C2B5009226A}"/>
              </a:ext>
            </a:extLst>
          </p:cNvPr>
          <p:cNvSpPr/>
          <p:nvPr>
            <p:custDataLst>
              <p:tags r:id="rId1"/>
            </p:custDataLst>
          </p:nvPr>
        </p:nvSpPr>
        <p:spPr>
          <a:xfrm>
            <a:off x="829189" y="1524000"/>
            <a:ext cx="2799715" cy="761667"/>
          </a:xfrm>
          <a:prstGeom prst="roundRect">
            <a:avLst>
              <a:gd name="adj" fmla="val 50000"/>
            </a:avLst>
          </a:prstGeom>
          <a:solidFill>
            <a:srgbClr val="F4DE00"/>
          </a:solidFill>
          <a:ln w="25400">
            <a:noFill/>
          </a:ln>
          <a:effectLst>
            <a:outerShdw blurRad="247650" dist="53492" dir="5400000" algn="ctr" rotWithShape="0">
              <a:srgbClr val="F1947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6286" tIns="48143" rIns="96286" bIns="48143"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vi-VN" sz="4400" dirty="0">
                <a:solidFill>
                  <a:schemeClr val="tx1"/>
                </a:solidFill>
                <a:ea typeface="思源黑体 CN Normal" panose="020B0400000000000000" charset="-122"/>
                <a:cs typeface="思源黑体 CN Normal" panose="020B0400000000000000" charset="-122"/>
              </a:rPr>
              <a:t> n</a:t>
            </a:r>
            <a:r>
              <a:rPr kumimoji="0" lang="vi-VN"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rPr>
              <a:t>hiều</a:t>
            </a:r>
            <a:endParaRPr kumimoji="0" lang="en-US"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endParaRPr>
          </a:p>
        </p:txBody>
      </p:sp>
      <p:sp>
        <p:nvSpPr>
          <p:cNvPr id="9" name="图形">
            <a:extLst>
              <a:ext uri="{FF2B5EF4-FFF2-40B4-BE49-F238E27FC236}">
                <a16:creationId xmlns:a16="http://schemas.microsoft.com/office/drawing/2014/main" id="{8D71F406-AEEA-217A-102B-5AB6B7A4DF85}"/>
              </a:ext>
            </a:extLst>
          </p:cNvPr>
          <p:cNvSpPr/>
          <p:nvPr>
            <p:custDataLst>
              <p:tags r:id="rId2"/>
            </p:custDataLst>
          </p:nvPr>
        </p:nvSpPr>
        <p:spPr>
          <a:xfrm>
            <a:off x="4591685" y="1549400"/>
            <a:ext cx="2799715" cy="761667"/>
          </a:xfrm>
          <a:prstGeom prst="roundRect">
            <a:avLst>
              <a:gd name="adj" fmla="val 50000"/>
            </a:avLst>
          </a:prstGeom>
          <a:solidFill>
            <a:srgbClr val="F4DE00"/>
          </a:solidFill>
          <a:ln w="25400">
            <a:noFill/>
          </a:ln>
          <a:effectLst>
            <a:outerShdw blurRad="247650" dist="53492" dir="5400000" algn="ctr" rotWithShape="0">
              <a:srgbClr val="F1947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6286" tIns="48143" rIns="96286" bIns="48143"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vi-VN" sz="4400" dirty="0">
                <a:solidFill>
                  <a:schemeClr val="tx1"/>
                </a:solidFill>
                <a:ea typeface="思源黑体 CN Normal" panose="020B0400000000000000" charset="-122"/>
                <a:cs typeface="思源黑体 CN Normal" panose="020B0400000000000000" charset="-122"/>
              </a:rPr>
              <a:t> đông</a:t>
            </a:r>
            <a:endParaRPr kumimoji="0" lang="en-US"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endParaRPr>
          </a:p>
        </p:txBody>
      </p:sp>
      <p:sp>
        <p:nvSpPr>
          <p:cNvPr id="10" name="图形">
            <a:extLst>
              <a:ext uri="{FF2B5EF4-FFF2-40B4-BE49-F238E27FC236}">
                <a16:creationId xmlns:a16="http://schemas.microsoft.com/office/drawing/2014/main" id="{30AF029B-7DD2-E7EC-7BD8-97E31BEB3839}"/>
              </a:ext>
            </a:extLst>
          </p:cNvPr>
          <p:cNvSpPr/>
          <p:nvPr>
            <p:custDataLst>
              <p:tags r:id="rId3"/>
            </p:custDataLst>
          </p:nvPr>
        </p:nvSpPr>
        <p:spPr>
          <a:xfrm>
            <a:off x="8229600" y="1549400"/>
            <a:ext cx="2799715" cy="761667"/>
          </a:xfrm>
          <a:prstGeom prst="roundRect">
            <a:avLst>
              <a:gd name="adj" fmla="val 50000"/>
            </a:avLst>
          </a:prstGeom>
          <a:solidFill>
            <a:srgbClr val="F4DE00"/>
          </a:solidFill>
          <a:ln w="25400">
            <a:noFill/>
          </a:ln>
          <a:effectLst>
            <a:outerShdw blurRad="247650" dist="53492" dir="5400000" algn="ctr" rotWithShape="0">
              <a:srgbClr val="F1947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6286" tIns="48143" rIns="96286" bIns="48143"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vi-VN" sz="4400" dirty="0">
                <a:solidFill>
                  <a:schemeClr val="tx1"/>
                </a:solidFill>
                <a:ea typeface="思源黑体 CN Normal" panose="020B0400000000000000" charset="-122"/>
                <a:cs typeface="思源黑体 CN Normal" panose="020B0400000000000000" charset="-122"/>
              </a:rPr>
              <a:t> đầy</a:t>
            </a:r>
            <a:endParaRPr kumimoji="0" lang="en-US"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endParaRPr>
          </a:p>
        </p:txBody>
      </p:sp>
      <p:pic>
        <p:nvPicPr>
          <p:cNvPr id="12" name="Picture 11">
            <a:extLst>
              <a:ext uri="{FF2B5EF4-FFF2-40B4-BE49-F238E27FC236}">
                <a16:creationId xmlns:a16="http://schemas.microsoft.com/office/drawing/2014/main" id="{039B9C26-7932-C077-EA92-F48218E89AA9}"/>
              </a:ext>
            </a:extLst>
          </p:cNvPr>
          <p:cNvPicPr>
            <a:picLocks noChangeAspect="1"/>
          </p:cNvPicPr>
          <p:nvPr/>
        </p:nvPicPr>
        <p:blipFill>
          <a:blip r:embed="rId6"/>
          <a:stretch>
            <a:fillRect/>
          </a:stretch>
        </p:blipFill>
        <p:spPr>
          <a:xfrm>
            <a:off x="6861775" y="2610365"/>
            <a:ext cx="5196702" cy="2278118"/>
          </a:xfrm>
          <a:prstGeom prst="rect">
            <a:avLst/>
          </a:prstGeom>
          <a:ln>
            <a:noFill/>
          </a:ln>
          <a:effectLst>
            <a:softEdge rad="112500"/>
          </a:effectLst>
        </p:spPr>
      </p:pic>
      <p:grpSp>
        <p:nvGrpSpPr>
          <p:cNvPr id="16" name="Group 15">
            <a:extLst>
              <a:ext uri="{FF2B5EF4-FFF2-40B4-BE49-F238E27FC236}">
                <a16:creationId xmlns:a16="http://schemas.microsoft.com/office/drawing/2014/main" id="{14473D5C-836D-CC36-E44C-AD3BCB0D99B9}"/>
              </a:ext>
            </a:extLst>
          </p:cNvPr>
          <p:cNvGrpSpPr/>
          <p:nvPr/>
        </p:nvGrpSpPr>
        <p:grpSpPr>
          <a:xfrm>
            <a:off x="381000" y="2439522"/>
            <a:ext cx="3733800" cy="655118"/>
            <a:chOff x="494408" y="2450852"/>
            <a:chExt cx="3733800" cy="655118"/>
          </a:xfrm>
        </p:grpSpPr>
        <p:sp>
          <p:nvSpPr>
            <p:cNvPr id="13" name="TextBox 12">
              <a:extLst>
                <a:ext uri="{FF2B5EF4-FFF2-40B4-BE49-F238E27FC236}">
                  <a16:creationId xmlns:a16="http://schemas.microsoft.com/office/drawing/2014/main" id="{4C2B7621-3FDB-1CEE-F93E-E4EAB3F7F4D2}"/>
                </a:ext>
              </a:extLst>
            </p:cNvPr>
            <p:cNvSpPr txBox="1"/>
            <p:nvPr/>
          </p:nvSpPr>
          <p:spPr>
            <a:xfrm>
              <a:off x="494408" y="2450852"/>
              <a:ext cx="3733800"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a.         như kiến.</a:t>
              </a:r>
              <a:endParaRPr lang="en-US" sz="3600" dirty="0">
                <a:solidFill>
                  <a:srgbClr val="0070C0"/>
                </a:solidFill>
                <a:latin typeface="Cambria" panose="02040503050406030204" pitchFamily="18" charset="0"/>
                <a:ea typeface="Cambria" panose="02040503050406030204" pitchFamily="18" charset="0"/>
              </a:endParaRPr>
            </a:p>
          </p:txBody>
        </p:sp>
        <p:pic>
          <p:nvPicPr>
            <p:cNvPr id="14" name="Picture 13" descr="A blue flower with yellow center&#10;&#10;AI-generated content may be incorrect.">
              <a:extLst>
                <a:ext uri="{FF2B5EF4-FFF2-40B4-BE49-F238E27FC236}">
                  <a16:creationId xmlns:a16="http://schemas.microsoft.com/office/drawing/2014/main" id="{32F9928F-2C6F-2F9C-9D2B-63AC429899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5939" y="2520347"/>
              <a:ext cx="585916" cy="585623"/>
            </a:xfrm>
            <a:prstGeom prst="rect">
              <a:avLst/>
            </a:prstGeom>
          </p:spPr>
        </p:pic>
      </p:grpSp>
      <p:grpSp>
        <p:nvGrpSpPr>
          <p:cNvPr id="17" name="Group 16">
            <a:extLst>
              <a:ext uri="{FF2B5EF4-FFF2-40B4-BE49-F238E27FC236}">
                <a16:creationId xmlns:a16="http://schemas.microsoft.com/office/drawing/2014/main" id="{5D532BCA-FAA1-945B-048C-94B4A4B1AE17}"/>
              </a:ext>
            </a:extLst>
          </p:cNvPr>
          <p:cNvGrpSpPr/>
          <p:nvPr/>
        </p:nvGrpSpPr>
        <p:grpSpPr>
          <a:xfrm>
            <a:off x="381000" y="3234006"/>
            <a:ext cx="6685915" cy="646331"/>
            <a:chOff x="494408" y="2450852"/>
            <a:chExt cx="6685915" cy="646331"/>
          </a:xfrm>
        </p:grpSpPr>
        <p:sp>
          <p:nvSpPr>
            <p:cNvPr id="18" name="TextBox 17">
              <a:extLst>
                <a:ext uri="{FF2B5EF4-FFF2-40B4-BE49-F238E27FC236}">
                  <a16:creationId xmlns:a16="http://schemas.microsoft.com/office/drawing/2014/main" id="{EBE6FE26-F3D2-095C-A2C2-C25D2392156F}"/>
                </a:ext>
              </a:extLst>
            </p:cNvPr>
            <p:cNvSpPr txBox="1"/>
            <p:nvPr/>
          </p:nvSpPr>
          <p:spPr>
            <a:xfrm>
              <a:off x="494408" y="2450852"/>
              <a:ext cx="6685915"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b. Năng mưa thì giếng năng        .</a:t>
              </a:r>
              <a:endParaRPr lang="en-US" sz="3600" dirty="0">
                <a:solidFill>
                  <a:srgbClr val="0070C0"/>
                </a:solidFill>
                <a:latin typeface="Cambria" panose="02040503050406030204" pitchFamily="18" charset="0"/>
                <a:ea typeface="Cambria" panose="02040503050406030204" pitchFamily="18" charset="0"/>
              </a:endParaRPr>
            </a:p>
          </p:txBody>
        </p:sp>
        <p:pic>
          <p:nvPicPr>
            <p:cNvPr id="19" name="Picture 18" descr="A blue flower with yellow center&#10;&#10;AI-generated content may be incorrect.">
              <a:extLst>
                <a:ext uri="{FF2B5EF4-FFF2-40B4-BE49-F238E27FC236}">
                  <a16:creationId xmlns:a16="http://schemas.microsoft.com/office/drawing/2014/main" id="{80A38C82-8C8F-41C2-D7D7-B0AE190D1E1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76410" y="2506565"/>
              <a:ext cx="585916" cy="585623"/>
            </a:xfrm>
            <a:prstGeom prst="rect">
              <a:avLst/>
            </a:prstGeom>
          </p:spPr>
        </p:pic>
      </p:grpSp>
      <p:grpSp>
        <p:nvGrpSpPr>
          <p:cNvPr id="20" name="Group 19">
            <a:extLst>
              <a:ext uri="{FF2B5EF4-FFF2-40B4-BE49-F238E27FC236}">
                <a16:creationId xmlns:a16="http://schemas.microsoft.com/office/drawing/2014/main" id="{63348D86-CB42-A21F-AD53-755F9EFD23C0}"/>
              </a:ext>
            </a:extLst>
          </p:cNvPr>
          <p:cNvGrpSpPr/>
          <p:nvPr/>
        </p:nvGrpSpPr>
        <p:grpSpPr>
          <a:xfrm>
            <a:off x="381000" y="3962400"/>
            <a:ext cx="7391400" cy="646331"/>
            <a:chOff x="494408" y="2450852"/>
            <a:chExt cx="7391400" cy="646331"/>
          </a:xfrm>
        </p:grpSpPr>
        <p:sp>
          <p:nvSpPr>
            <p:cNvPr id="21" name="TextBox 20">
              <a:extLst>
                <a:ext uri="{FF2B5EF4-FFF2-40B4-BE49-F238E27FC236}">
                  <a16:creationId xmlns:a16="http://schemas.microsoft.com/office/drawing/2014/main" id="{DD1432BB-8CFE-F852-34DC-D0581A745E28}"/>
                </a:ext>
              </a:extLst>
            </p:cNvPr>
            <p:cNvSpPr txBox="1"/>
            <p:nvPr/>
          </p:nvSpPr>
          <p:spPr>
            <a:xfrm>
              <a:off x="494408" y="2450852"/>
              <a:ext cx="7391400"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c.        sao thì nắng, vắng sao thì mưa.</a:t>
              </a:r>
              <a:endParaRPr lang="en-US" sz="3600" dirty="0">
                <a:solidFill>
                  <a:srgbClr val="0070C0"/>
                </a:solidFill>
                <a:latin typeface="Cambria" panose="02040503050406030204" pitchFamily="18" charset="0"/>
                <a:ea typeface="Cambria" panose="02040503050406030204" pitchFamily="18" charset="0"/>
              </a:endParaRPr>
            </a:p>
          </p:txBody>
        </p:sp>
        <p:pic>
          <p:nvPicPr>
            <p:cNvPr id="22" name="Picture 21" descr="A blue flower with yellow center&#10;&#10;AI-generated content may be incorrect.">
              <a:extLst>
                <a:ext uri="{FF2B5EF4-FFF2-40B4-BE49-F238E27FC236}">
                  <a16:creationId xmlns:a16="http://schemas.microsoft.com/office/drawing/2014/main" id="{97421852-543E-0B25-194E-3E753EFD41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0780" y="2511560"/>
              <a:ext cx="585916" cy="585623"/>
            </a:xfrm>
            <a:prstGeom prst="rect">
              <a:avLst/>
            </a:prstGeom>
          </p:spPr>
        </p:pic>
      </p:grpSp>
      <p:grpSp>
        <p:nvGrpSpPr>
          <p:cNvPr id="23" name="Group 22">
            <a:extLst>
              <a:ext uri="{FF2B5EF4-FFF2-40B4-BE49-F238E27FC236}">
                <a16:creationId xmlns:a16="http://schemas.microsoft.com/office/drawing/2014/main" id="{D82F6AD1-199B-C315-B34F-CF41AEC528B3}"/>
              </a:ext>
            </a:extLst>
          </p:cNvPr>
          <p:cNvGrpSpPr/>
          <p:nvPr/>
        </p:nvGrpSpPr>
        <p:grpSpPr>
          <a:xfrm>
            <a:off x="304800" y="4802274"/>
            <a:ext cx="7162800" cy="1200329"/>
            <a:chOff x="494408" y="2450852"/>
            <a:chExt cx="7162800" cy="1200329"/>
          </a:xfrm>
        </p:grpSpPr>
        <p:sp>
          <p:nvSpPr>
            <p:cNvPr id="24" name="TextBox 23">
              <a:extLst>
                <a:ext uri="{FF2B5EF4-FFF2-40B4-BE49-F238E27FC236}">
                  <a16:creationId xmlns:a16="http://schemas.microsoft.com/office/drawing/2014/main" id="{B34E36DE-184E-7121-919D-34E72566D03A}"/>
                </a:ext>
              </a:extLst>
            </p:cNvPr>
            <p:cNvSpPr txBox="1"/>
            <p:nvPr/>
          </p:nvSpPr>
          <p:spPr>
            <a:xfrm>
              <a:off x="494408" y="2450852"/>
              <a:ext cx="7162800" cy="1200329"/>
            </a:xfrm>
            <a:prstGeom prst="rect">
              <a:avLst/>
            </a:prstGeom>
            <a:noFill/>
          </p:spPr>
          <p:txBody>
            <a:bodyPr wrap="square" rtlCol="0">
              <a:spAutoFit/>
            </a:bodyPr>
            <a:lstStyle/>
            <a:p>
              <a:pPr marL="742950" indent="-742950" algn="just">
                <a:buAutoNum type="alphaLcPeriod" startAt="4"/>
              </a:pPr>
              <a:r>
                <a:rPr lang="vi-VN" sz="3600" dirty="0">
                  <a:solidFill>
                    <a:srgbClr val="0070C0"/>
                  </a:solidFill>
                  <a:latin typeface="Cambria" panose="02040503050406030204" pitchFamily="18" charset="0"/>
                  <a:ea typeface="Cambria" panose="02040503050406030204" pitchFamily="18" charset="0"/>
                </a:rPr>
                <a:t>  Con ơi nhớ lấy câu này</a:t>
              </a:r>
            </a:p>
            <a:p>
              <a:pPr algn="just"/>
              <a:r>
                <a:rPr lang="vi-VN" sz="3600" dirty="0">
                  <a:solidFill>
                    <a:srgbClr val="0070C0"/>
                  </a:solidFill>
                  <a:latin typeface="Cambria" panose="02040503050406030204" pitchFamily="18" charset="0"/>
                  <a:ea typeface="Cambria" panose="02040503050406030204" pitchFamily="18" charset="0"/>
                </a:rPr>
                <a:t>    Sông sâu chớ lội, đò        chớ qua.</a:t>
              </a:r>
              <a:endParaRPr lang="en-US" sz="3600" dirty="0">
                <a:solidFill>
                  <a:srgbClr val="0070C0"/>
                </a:solidFill>
                <a:latin typeface="Cambria" panose="02040503050406030204" pitchFamily="18" charset="0"/>
                <a:ea typeface="Cambria" panose="02040503050406030204" pitchFamily="18" charset="0"/>
              </a:endParaRPr>
            </a:p>
          </p:txBody>
        </p:sp>
        <p:pic>
          <p:nvPicPr>
            <p:cNvPr id="25" name="Picture 24" descr="A blue flower with yellow center&#10;&#10;AI-generated content may be incorrect.">
              <a:extLst>
                <a:ext uri="{FF2B5EF4-FFF2-40B4-BE49-F238E27FC236}">
                  <a16:creationId xmlns:a16="http://schemas.microsoft.com/office/drawing/2014/main" id="{047445D8-1483-660C-7CDD-BACFDF622BA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14008" y="3040856"/>
              <a:ext cx="585916" cy="585623"/>
            </a:xfrm>
            <a:prstGeom prst="rect">
              <a:avLst/>
            </a:prstGeom>
          </p:spPr>
        </p:pic>
      </p:grpSp>
      <p:pic>
        <p:nvPicPr>
          <p:cNvPr id="27" name="Picture 26" descr="A cartoon of kids at desks&#10;&#10;AI-generated content may be incorrect.">
            <a:extLst>
              <a:ext uri="{FF2B5EF4-FFF2-40B4-BE49-F238E27FC236}">
                <a16:creationId xmlns:a16="http://schemas.microsoft.com/office/drawing/2014/main" id="{9B2C88A2-8F9E-7A4F-A947-0BB71864F415}"/>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073006" y="4888483"/>
            <a:ext cx="3664732" cy="1906038"/>
          </a:xfrm>
          <a:prstGeom prst="rect">
            <a:avLst/>
          </a:prstGeom>
        </p:spPr>
      </p:pic>
    </p:spTree>
    <p:extLst>
      <p:ext uri="{BB962C8B-B14F-4D97-AF65-F5344CB8AC3E}">
        <p14:creationId xmlns:p14="http://schemas.microsoft.com/office/powerpoint/2010/main" val="172863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25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500" fill="hold"/>
                                        <p:tgtEl>
                                          <p:spTgt spid="6"/>
                                        </p:tgtEl>
                                        <p:attrNameLst>
                                          <p:attrName>ppt_w</p:attrName>
                                        </p:attrNameLst>
                                      </p:cBhvr>
                                      <p:tavLst>
                                        <p:tav tm="0">
                                          <p:val>
                                            <p:fltVal val="0"/>
                                          </p:val>
                                        </p:tav>
                                        <p:tav tm="100000">
                                          <p:val>
                                            <p:strVal val="#ppt_w"/>
                                          </p:val>
                                        </p:tav>
                                      </p:tavLst>
                                    </p:anim>
                                    <p:anim calcmode="lin" valueType="num">
                                      <p:cBhvr>
                                        <p:cTn id="18" dur="500" fill="hold"/>
                                        <p:tgtEl>
                                          <p:spTgt spid="6"/>
                                        </p:tgtEl>
                                        <p:attrNameLst>
                                          <p:attrName>ppt_h</p:attrName>
                                        </p:attrNameLst>
                                      </p:cBhvr>
                                      <p:tavLst>
                                        <p:tav tm="0">
                                          <p:val>
                                            <p:fltVal val="0"/>
                                          </p:val>
                                        </p:tav>
                                        <p:tav tm="100000">
                                          <p:val>
                                            <p:strVal val="#ppt_h"/>
                                          </p:val>
                                        </p:tav>
                                      </p:tavLst>
                                    </p:anim>
                                    <p:animEffect transition="in" filter="fade">
                                      <p:cBhvr>
                                        <p:cTn id="19" dur="500"/>
                                        <p:tgtEl>
                                          <p:spTgt spid="6"/>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500" fill="hold"/>
                                        <p:tgtEl>
                                          <p:spTgt spid="9"/>
                                        </p:tgtEl>
                                        <p:attrNameLst>
                                          <p:attrName>ppt_w</p:attrName>
                                        </p:attrNameLst>
                                      </p:cBhvr>
                                      <p:tavLst>
                                        <p:tav tm="0">
                                          <p:val>
                                            <p:fltVal val="0"/>
                                          </p:val>
                                        </p:tav>
                                        <p:tav tm="100000">
                                          <p:val>
                                            <p:strVal val="#ppt_w"/>
                                          </p:val>
                                        </p:tav>
                                      </p:tavLst>
                                    </p:anim>
                                    <p:anim calcmode="lin" valueType="num">
                                      <p:cBhvr>
                                        <p:cTn id="23" dur="500" fill="hold"/>
                                        <p:tgtEl>
                                          <p:spTgt spid="9"/>
                                        </p:tgtEl>
                                        <p:attrNameLst>
                                          <p:attrName>ppt_h</p:attrName>
                                        </p:attrNameLst>
                                      </p:cBhvr>
                                      <p:tavLst>
                                        <p:tav tm="0">
                                          <p:val>
                                            <p:fltVal val="0"/>
                                          </p:val>
                                        </p:tav>
                                        <p:tav tm="100000">
                                          <p:val>
                                            <p:strVal val="#ppt_h"/>
                                          </p:val>
                                        </p:tav>
                                      </p:tavLst>
                                    </p:anim>
                                    <p:animEffect transition="in" filter="fade">
                                      <p:cBhvr>
                                        <p:cTn id="24" dur="500"/>
                                        <p:tgtEl>
                                          <p:spTgt spid="9"/>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par>
                                <p:cTn id="30" presetID="14" presetClass="entr" presetSubtype="1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randombar(horizontal)">
                                      <p:cBhvr>
                                        <p:cTn id="32" dur="500"/>
                                        <p:tgtEl>
                                          <p:spTgt spid="12"/>
                                        </p:tgtEl>
                                      </p:cBhvr>
                                    </p:animEffect>
                                  </p:childTnLst>
                                </p:cTn>
                              </p:par>
                            </p:childTnLst>
                          </p:cTn>
                        </p:par>
                        <p:par>
                          <p:cTn id="33" fill="hold">
                            <p:stCondLst>
                              <p:cond delay="500"/>
                            </p:stCondLst>
                            <p:childTnLst>
                              <p:par>
                                <p:cTn id="34" presetID="42" presetClass="entr" presetSubtype="0" fill="hold"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1000"/>
                                        <p:tgtEl>
                                          <p:spTgt spid="16"/>
                                        </p:tgtEl>
                                      </p:cBhvr>
                                    </p:animEffect>
                                    <p:anim calcmode="lin" valueType="num">
                                      <p:cBhvr>
                                        <p:cTn id="37" dur="1000" fill="hold"/>
                                        <p:tgtEl>
                                          <p:spTgt spid="16"/>
                                        </p:tgtEl>
                                        <p:attrNameLst>
                                          <p:attrName>ppt_x</p:attrName>
                                        </p:attrNameLst>
                                      </p:cBhvr>
                                      <p:tavLst>
                                        <p:tav tm="0">
                                          <p:val>
                                            <p:strVal val="#ppt_x"/>
                                          </p:val>
                                        </p:tav>
                                        <p:tav tm="100000">
                                          <p:val>
                                            <p:strVal val="#ppt_x"/>
                                          </p:val>
                                        </p:tav>
                                      </p:tavLst>
                                    </p:anim>
                                    <p:anim calcmode="lin" valueType="num">
                                      <p:cBhvr>
                                        <p:cTn id="38" dur="1000" fill="hold"/>
                                        <p:tgtEl>
                                          <p:spTgt spid="16"/>
                                        </p:tgtEl>
                                        <p:attrNameLst>
                                          <p:attrName>ppt_y</p:attrName>
                                        </p:attrNameLst>
                                      </p:cBhvr>
                                      <p:tavLst>
                                        <p:tav tm="0">
                                          <p:val>
                                            <p:strVal val="#ppt_y+.1"/>
                                          </p:val>
                                        </p:tav>
                                        <p:tav tm="100000">
                                          <p:val>
                                            <p:strVal val="#ppt_y"/>
                                          </p:val>
                                        </p:tav>
                                      </p:tavLst>
                                    </p:anim>
                                  </p:childTnLst>
                                </p:cTn>
                              </p:par>
                            </p:childTnLst>
                          </p:cTn>
                        </p:par>
                        <p:par>
                          <p:cTn id="39" fill="hold">
                            <p:stCondLst>
                              <p:cond delay="1500"/>
                            </p:stCondLst>
                            <p:childTnLst>
                              <p:par>
                                <p:cTn id="40" presetID="42" presetClass="entr" presetSubtype="0" fill="hold"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1000"/>
                                        <p:tgtEl>
                                          <p:spTgt spid="17"/>
                                        </p:tgtEl>
                                      </p:cBhvr>
                                    </p:animEffect>
                                    <p:anim calcmode="lin" valueType="num">
                                      <p:cBhvr>
                                        <p:cTn id="43" dur="1000" fill="hold"/>
                                        <p:tgtEl>
                                          <p:spTgt spid="17"/>
                                        </p:tgtEl>
                                        <p:attrNameLst>
                                          <p:attrName>ppt_x</p:attrName>
                                        </p:attrNameLst>
                                      </p:cBhvr>
                                      <p:tavLst>
                                        <p:tav tm="0">
                                          <p:val>
                                            <p:strVal val="#ppt_x"/>
                                          </p:val>
                                        </p:tav>
                                        <p:tav tm="100000">
                                          <p:val>
                                            <p:strVal val="#ppt_x"/>
                                          </p:val>
                                        </p:tav>
                                      </p:tavLst>
                                    </p:anim>
                                    <p:anim calcmode="lin" valueType="num">
                                      <p:cBhvr>
                                        <p:cTn id="44" dur="1000" fill="hold"/>
                                        <p:tgtEl>
                                          <p:spTgt spid="17"/>
                                        </p:tgtEl>
                                        <p:attrNameLst>
                                          <p:attrName>ppt_y</p:attrName>
                                        </p:attrNameLst>
                                      </p:cBhvr>
                                      <p:tavLst>
                                        <p:tav tm="0">
                                          <p:val>
                                            <p:strVal val="#ppt_y+.1"/>
                                          </p:val>
                                        </p:tav>
                                        <p:tav tm="100000">
                                          <p:val>
                                            <p:strVal val="#ppt_y"/>
                                          </p:val>
                                        </p:tav>
                                      </p:tavLst>
                                    </p:anim>
                                  </p:childTnLst>
                                </p:cTn>
                              </p:par>
                            </p:childTnLst>
                          </p:cTn>
                        </p:par>
                        <p:par>
                          <p:cTn id="45" fill="hold">
                            <p:stCondLst>
                              <p:cond delay="2500"/>
                            </p:stCondLst>
                            <p:childTnLst>
                              <p:par>
                                <p:cTn id="46" presetID="42"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1000"/>
                                        <p:tgtEl>
                                          <p:spTgt spid="20"/>
                                        </p:tgtEl>
                                      </p:cBhvr>
                                    </p:animEffect>
                                    <p:anim calcmode="lin" valueType="num">
                                      <p:cBhvr>
                                        <p:cTn id="49" dur="1000" fill="hold"/>
                                        <p:tgtEl>
                                          <p:spTgt spid="20"/>
                                        </p:tgtEl>
                                        <p:attrNameLst>
                                          <p:attrName>ppt_x</p:attrName>
                                        </p:attrNameLst>
                                      </p:cBhvr>
                                      <p:tavLst>
                                        <p:tav tm="0">
                                          <p:val>
                                            <p:strVal val="#ppt_x"/>
                                          </p:val>
                                        </p:tav>
                                        <p:tav tm="100000">
                                          <p:val>
                                            <p:strVal val="#ppt_x"/>
                                          </p:val>
                                        </p:tav>
                                      </p:tavLst>
                                    </p:anim>
                                    <p:anim calcmode="lin" valueType="num">
                                      <p:cBhvr>
                                        <p:cTn id="50" dur="1000" fill="hold"/>
                                        <p:tgtEl>
                                          <p:spTgt spid="20"/>
                                        </p:tgtEl>
                                        <p:attrNameLst>
                                          <p:attrName>ppt_y</p:attrName>
                                        </p:attrNameLst>
                                      </p:cBhvr>
                                      <p:tavLst>
                                        <p:tav tm="0">
                                          <p:val>
                                            <p:strVal val="#ppt_y+.1"/>
                                          </p:val>
                                        </p:tav>
                                        <p:tav tm="100000">
                                          <p:val>
                                            <p:strVal val="#ppt_y"/>
                                          </p:val>
                                        </p:tav>
                                      </p:tavLst>
                                    </p:anim>
                                  </p:childTnLst>
                                </p:cTn>
                              </p:par>
                            </p:childTnLst>
                          </p:cTn>
                        </p:par>
                        <p:par>
                          <p:cTn id="51" fill="hold">
                            <p:stCondLst>
                              <p:cond delay="3500"/>
                            </p:stCondLst>
                            <p:childTnLst>
                              <p:par>
                                <p:cTn id="52" presetID="42" presetClass="entr" presetSubtype="0" fill="hold" nodeType="after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1000"/>
                                        <p:tgtEl>
                                          <p:spTgt spid="23"/>
                                        </p:tgtEl>
                                      </p:cBhvr>
                                    </p:animEffect>
                                    <p:anim calcmode="lin" valueType="num">
                                      <p:cBhvr>
                                        <p:cTn id="55" dur="1000" fill="hold"/>
                                        <p:tgtEl>
                                          <p:spTgt spid="23"/>
                                        </p:tgtEl>
                                        <p:attrNameLst>
                                          <p:attrName>ppt_x</p:attrName>
                                        </p:attrNameLst>
                                      </p:cBhvr>
                                      <p:tavLst>
                                        <p:tav tm="0">
                                          <p:val>
                                            <p:strVal val="#ppt_x"/>
                                          </p:val>
                                        </p:tav>
                                        <p:tav tm="100000">
                                          <p:val>
                                            <p:strVal val="#ppt_x"/>
                                          </p:val>
                                        </p:tav>
                                      </p:tavLst>
                                    </p:anim>
                                    <p:anim calcmode="lin" valueType="num">
                                      <p:cBhvr>
                                        <p:cTn id="5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1000"/>
                                        <p:tgtEl>
                                          <p:spTgt spid="27"/>
                                        </p:tgtEl>
                                      </p:cBhvr>
                                    </p:animEffect>
                                    <p:anim calcmode="lin" valueType="num">
                                      <p:cBhvr>
                                        <p:cTn id="62" dur="1000" fill="hold"/>
                                        <p:tgtEl>
                                          <p:spTgt spid="27"/>
                                        </p:tgtEl>
                                        <p:attrNameLst>
                                          <p:attrName>ppt_x</p:attrName>
                                        </p:attrNameLst>
                                      </p:cBhvr>
                                      <p:tavLst>
                                        <p:tav tm="0">
                                          <p:val>
                                            <p:strVal val="#ppt_x"/>
                                          </p:val>
                                        </p:tav>
                                        <p:tav tm="100000">
                                          <p:val>
                                            <p:strVal val="#ppt_x"/>
                                          </p:val>
                                        </p:tav>
                                      </p:tavLst>
                                    </p:anim>
                                    <p:anim calcmode="lin" valueType="num">
                                      <p:cBhvr>
                                        <p:cTn id="63"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DFCE4-D888-15C2-4473-D9F21A3D4D30}"/>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6292CF3E-3831-1976-2881-61383E87A6DB}"/>
              </a:ext>
            </a:extLst>
          </p:cNvPr>
          <p:cNvGrpSpPr/>
          <p:nvPr/>
        </p:nvGrpSpPr>
        <p:grpSpPr>
          <a:xfrm>
            <a:off x="1145939" y="367967"/>
            <a:ext cx="10591799" cy="761667"/>
            <a:chOff x="4748249" y="2099968"/>
            <a:chExt cx="6774939" cy="3017031"/>
          </a:xfrm>
        </p:grpSpPr>
        <p:sp>
          <p:nvSpPr>
            <p:cNvPr id="3" name="Rectangle: Rounded Corners 2">
              <a:extLst>
                <a:ext uri="{FF2B5EF4-FFF2-40B4-BE49-F238E27FC236}">
                  <a16:creationId xmlns:a16="http://schemas.microsoft.com/office/drawing/2014/main" id="{A2477995-299D-2398-CCEF-998D322C08C1}"/>
                </a:ext>
              </a:extLst>
            </p:cNvPr>
            <p:cNvSpPr/>
            <p:nvPr/>
          </p:nvSpPr>
          <p:spPr>
            <a:xfrm>
              <a:off x="4748249" y="2099968"/>
              <a:ext cx="6774939" cy="3017031"/>
            </a:xfrm>
            <a:custGeom>
              <a:avLst/>
              <a:gdLst>
                <a:gd name="connsiteX0" fmla="*/ 0 w 6774939"/>
                <a:gd name="connsiteY0" fmla="*/ 127470 h 3017031"/>
                <a:gd name="connsiteX1" fmla="*/ 127470 w 6774939"/>
                <a:gd name="connsiteY1" fmla="*/ 0 h 3017031"/>
                <a:gd name="connsiteX2" fmla="*/ 844670 w 6774939"/>
                <a:gd name="connsiteY2" fmla="*/ 0 h 3017031"/>
                <a:gd name="connsiteX3" fmla="*/ 1627070 w 6774939"/>
                <a:gd name="connsiteY3" fmla="*/ 0 h 3017031"/>
                <a:gd name="connsiteX4" fmla="*/ 2409470 w 6774939"/>
                <a:gd name="connsiteY4" fmla="*/ 0 h 3017031"/>
                <a:gd name="connsiteX5" fmla="*/ 2931070 w 6774939"/>
                <a:gd name="connsiteY5" fmla="*/ 0 h 3017031"/>
                <a:gd name="connsiteX6" fmla="*/ 3583069 w 6774939"/>
                <a:gd name="connsiteY6" fmla="*/ 0 h 3017031"/>
                <a:gd name="connsiteX7" fmla="*/ 4039469 w 6774939"/>
                <a:gd name="connsiteY7" fmla="*/ 0 h 3017031"/>
                <a:gd name="connsiteX8" fmla="*/ 4691469 w 6774939"/>
                <a:gd name="connsiteY8" fmla="*/ 0 h 3017031"/>
                <a:gd name="connsiteX9" fmla="*/ 5147869 w 6774939"/>
                <a:gd name="connsiteY9" fmla="*/ 0 h 3017031"/>
                <a:gd name="connsiteX10" fmla="*/ 5669469 w 6774939"/>
                <a:gd name="connsiteY10" fmla="*/ 0 h 3017031"/>
                <a:gd name="connsiteX11" fmla="*/ 6647469 w 6774939"/>
                <a:gd name="connsiteY11" fmla="*/ 0 h 3017031"/>
                <a:gd name="connsiteX12" fmla="*/ 6774939 w 6774939"/>
                <a:gd name="connsiteY12" fmla="*/ 127470 h 3017031"/>
                <a:gd name="connsiteX13" fmla="*/ 6774939 w 6774939"/>
                <a:gd name="connsiteY13" fmla="*/ 845614 h 3017031"/>
                <a:gd name="connsiteX14" fmla="*/ 6774939 w 6774939"/>
                <a:gd name="connsiteY14" fmla="*/ 1508516 h 3017031"/>
                <a:gd name="connsiteX15" fmla="*/ 6774939 w 6774939"/>
                <a:gd name="connsiteY15" fmla="*/ 2143796 h 3017031"/>
                <a:gd name="connsiteX16" fmla="*/ 6774939 w 6774939"/>
                <a:gd name="connsiteY16" fmla="*/ 2889561 h 3017031"/>
                <a:gd name="connsiteX17" fmla="*/ 6647469 w 6774939"/>
                <a:gd name="connsiteY17" fmla="*/ 3017031 h 3017031"/>
                <a:gd name="connsiteX18" fmla="*/ 5865069 w 6774939"/>
                <a:gd name="connsiteY18" fmla="*/ 3017031 h 3017031"/>
                <a:gd name="connsiteX19" fmla="*/ 5278269 w 6774939"/>
                <a:gd name="connsiteY19" fmla="*/ 3017031 h 3017031"/>
                <a:gd name="connsiteX20" fmla="*/ 4821869 w 6774939"/>
                <a:gd name="connsiteY20" fmla="*/ 3017031 h 3017031"/>
                <a:gd name="connsiteX21" fmla="*/ 4039469 w 6774939"/>
                <a:gd name="connsiteY21" fmla="*/ 3017031 h 3017031"/>
                <a:gd name="connsiteX22" fmla="*/ 3583069 w 6774939"/>
                <a:gd name="connsiteY22" fmla="*/ 3017031 h 3017031"/>
                <a:gd name="connsiteX23" fmla="*/ 2800670 w 6774939"/>
                <a:gd name="connsiteY23" fmla="*/ 3017031 h 3017031"/>
                <a:gd name="connsiteX24" fmla="*/ 2018270 w 6774939"/>
                <a:gd name="connsiteY24" fmla="*/ 3017031 h 3017031"/>
                <a:gd name="connsiteX25" fmla="*/ 1366270 w 6774939"/>
                <a:gd name="connsiteY25" fmla="*/ 3017031 h 3017031"/>
                <a:gd name="connsiteX26" fmla="*/ 127470 w 6774939"/>
                <a:gd name="connsiteY26" fmla="*/ 3017031 h 3017031"/>
                <a:gd name="connsiteX27" fmla="*/ 0 w 6774939"/>
                <a:gd name="connsiteY27" fmla="*/ 2889561 h 3017031"/>
                <a:gd name="connsiteX28" fmla="*/ 0 w 6774939"/>
                <a:gd name="connsiteY28" fmla="*/ 2171417 h 3017031"/>
                <a:gd name="connsiteX29" fmla="*/ 0 w 6774939"/>
                <a:gd name="connsiteY29" fmla="*/ 1563757 h 3017031"/>
                <a:gd name="connsiteX30" fmla="*/ 0 w 6774939"/>
                <a:gd name="connsiteY30" fmla="*/ 928476 h 3017031"/>
                <a:gd name="connsiteX31" fmla="*/ 0 w 6774939"/>
                <a:gd name="connsiteY31" fmla="*/ 127470 h 301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4939" h="3017031" fill="none" extrusionOk="0">
                  <a:moveTo>
                    <a:pt x="0" y="127470"/>
                  </a:moveTo>
                  <a:cubicBezTo>
                    <a:pt x="12920" y="48569"/>
                    <a:pt x="61107" y="5571"/>
                    <a:pt x="127470" y="0"/>
                  </a:cubicBezTo>
                  <a:cubicBezTo>
                    <a:pt x="325538" y="-31289"/>
                    <a:pt x="654436" y="-2683"/>
                    <a:pt x="844670" y="0"/>
                  </a:cubicBezTo>
                  <a:cubicBezTo>
                    <a:pt x="1034904" y="2683"/>
                    <a:pt x="1445504" y="-8332"/>
                    <a:pt x="1627070" y="0"/>
                  </a:cubicBezTo>
                  <a:cubicBezTo>
                    <a:pt x="1808636" y="8332"/>
                    <a:pt x="2167601" y="2359"/>
                    <a:pt x="2409470" y="0"/>
                  </a:cubicBezTo>
                  <a:cubicBezTo>
                    <a:pt x="2651339" y="-2359"/>
                    <a:pt x="2702577" y="-6911"/>
                    <a:pt x="2931070" y="0"/>
                  </a:cubicBezTo>
                  <a:cubicBezTo>
                    <a:pt x="3159563" y="6911"/>
                    <a:pt x="3302552" y="7288"/>
                    <a:pt x="3583069" y="0"/>
                  </a:cubicBezTo>
                  <a:cubicBezTo>
                    <a:pt x="3863586" y="-7288"/>
                    <a:pt x="3854235" y="21007"/>
                    <a:pt x="4039469" y="0"/>
                  </a:cubicBezTo>
                  <a:cubicBezTo>
                    <a:pt x="4224703" y="-21007"/>
                    <a:pt x="4388094" y="-18758"/>
                    <a:pt x="4691469" y="0"/>
                  </a:cubicBezTo>
                  <a:cubicBezTo>
                    <a:pt x="4994844" y="18758"/>
                    <a:pt x="5032506" y="-13084"/>
                    <a:pt x="5147869" y="0"/>
                  </a:cubicBezTo>
                  <a:cubicBezTo>
                    <a:pt x="5263232" y="13084"/>
                    <a:pt x="5436425" y="22998"/>
                    <a:pt x="5669469" y="0"/>
                  </a:cubicBezTo>
                  <a:cubicBezTo>
                    <a:pt x="5902513" y="-22998"/>
                    <a:pt x="6191193" y="-36074"/>
                    <a:pt x="6647469" y="0"/>
                  </a:cubicBezTo>
                  <a:cubicBezTo>
                    <a:pt x="6730544" y="322"/>
                    <a:pt x="6785203" y="66030"/>
                    <a:pt x="6774939" y="127470"/>
                  </a:cubicBezTo>
                  <a:cubicBezTo>
                    <a:pt x="6740033" y="289831"/>
                    <a:pt x="6748077" y="571923"/>
                    <a:pt x="6774939" y="845614"/>
                  </a:cubicBezTo>
                  <a:cubicBezTo>
                    <a:pt x="6801801" y="1119305"/>
                    <a:pt x="6791605" y="1280918"/>
                    <a:pt x="6774939" y="1508516"/>
                  </a:cubicBezTo>
                  <a:cubicBezTo>
                    <a:pt x="6758273" y="1736114"/>
                    <a:pt x="6776448" y="1869450"/>
                    <a:pt x="6774939" y="2143796"/>
                  </a:cubicBezTo>
                  <a:cubicBezTo>
                    <a:pt x="6773430" y="2418142"/>
                    <a:pt x="6799674" y="2700531"/>
                    <a:pt x="6774939" y="2889561"/>
                  </a:cubicBezTo>
                  <a:cubicBezTo>
                    <a:pt x="6781714" y="2960429"/>
                    <a:pt x="6716317" y="3008417"/>
                    <a:pt x="6647469" y="3017031"/>
                  </a:cubicBezTo>
                  <a:cubicBezTo>
                    <a:pt x="6297261" y="2982756"/>
                    <a:pt x="6099464" y="2987502"/>
                    <a:pt x="5865069" y="3017031"/>
                  </a:cubicBezTo>
                  <a:cubicBezTo>
                    <a:pt x="5630674" y="3046560"/>
                    <a:pt x="5427019" y="3002827"/>
                    <a:pt x="5278269" y="3017031"/>
                  </a:cubicBezTo>
                  <a:cubicBezTo>
                    <a:pt x="5129519" y="3031235"/>
                    <a:pt x="4980597" y="3031111"/>
                    <a:pt x="4821869" y="3017031"/>
                  </a:cubicBezTo>
                  <a:cubicBezTo>
                    <a:pt x="4663141" y="3002951"/>
                    <a:pt x="4303565" y="3025750"/>
                    <a:pt x="4039469" y="3017031"/>
                  </a:cubicBezTo>
                  <a:cubicBezTo>
                    <a:pt x="3775373" y="3008312"/>
                    <a:pt x="3790546" y="3030654"/>
                    <a:pt x="3583069" y="3017031"/>
                  </a:cubicBezTo>
                  <a:cubicBezTo>
                    <a:pt x="3375592" y="3003408"/>
                    <a:pt x="2983057" y="2993627"/>
                    <a:pt x="2800670" y="3017031"/>
                  </a:cubicBezTo>
                  <a:cubicBezTo>
                    <a:pt x="2618283" y="3040435"/>
                    <a:pt x="2331603" y="3024894"/>
                    <a:pt x="2018270" y="3017031"/>
                  </a:cubicBezTo>
                  <a:cubicBezTo>
                    <a:pt x="1704937" y="3009168"/>
                    <a:pt x="1659470" y="3012160"/>
                    <a:pt x="1366270" y="3017031"/>
                  </a:cubicBezTo>
                  <a:cubicBezTo>
                    <a:pt x="1073070" y="3021902"/>
                    <a:pt x="662358" y="2958681"/>
                    <a:pt x="127470" y="3017031"/>
                  </a:cubicBezTo>
                  <a:cubicBezTo>
                    <a:pt x="59452" y="3020578"/>
                    <a:pt x="9501" y="2967414"/>
                    <a:pt x="0" y="2889561"/>
                  </a:cubicBezTo>
                  <a:cubicBezTo>
                    <a:pt x="9722" y="2637548"/>
                    <a:pt x="26295" y="2322361"/>
                    <a:pt x="0" y="2171417"/>
                  </a:cubicBezTo>
                  <a:cubicBezTo>
                    <a:pt x="-26295" y="2020473"/>
                    <a:pt x="29365" y="1820889"/>
                    <a:pt x="0" y="1563757"/>
                  </a:cubicBezTo>
                  <a:cubicBezTo>
                    <a:pt x="-29365" y="1306625"/>
                    <a:pt x="-23561" y="1121486"/>
                    <a:pt x="0" y="928476"/>
                  </a:cubicBezTo>
                  <a:cubicBezTo>
                    <a:pt x="23561" y="735466"/>
                    <a:pt x="34333" y="458426"/>
                    <a:pt x="0" y="127470"/>
                  </a:cubicBezTo>
                  <a:close/>
                </a:path>
                <a:path w="6774939" h="3017031" stroke="0" extrusionOk="0">
                  <a:moveTo>
                    <a:pt x="0" y="127470"/>
                  </a:moveTo>
                  <a:cubicBezTo>
                    <a:pt x="12833" y="63171"/>
                    <a:pt x="52273" y="-3714"/>
                    <a:pt x="127470" y="0"/>
                  </a:cubicBezTo>
                  <a:cubicBezTo>
                    <a:pt x="297372" y="-232"/>
                    <a:pt x="636483" y="6434"/>
                    <a:pt x="779470" y="0"/>
                  </a:cubicBezTo>
                  <a:cubicBezTo>
                    <a:pt x="922457" y="-6434"/>
                    <a:pt x="1199548" y="27121"/>
                    <a:pt x="1366270" y="0"/>
                  </a:cubicBezTo>
                  <a:cubicBezTo>
                    <a:pt x="1532992" y="-27121"/>
                    <a:pt x="1643453" y="15739"/>
                    <a:pt x="1822670" y="0"/>
                  </a:cubicBezTo>
                  <a:cubicBezTo>
                    <a:pt x="2001887" y="-15739"/>
                    <a:pt x="2241476" y="30395"/>
                    <a:pt x="2539870" y="0"/>
                  </a:cubicBezTo>
                  <a:cubicBezTo>
                    <a:pt x="2838264" y="-30395"/>
                    <a:pt x="2936910" y="-5796"/>
                    <a:pt x="3257070" y="0"/>
                  </a:cubicBezTo>
                  <a:cubicBezTo>
                    <a:pt x="3577230" y="5796"/>
                    <a:pt x="3543012" y="22787"/>
                    <a:pt x="3713469" y="0"/>
                  </a:cubicBezTo>
                  <a:cubicBezTo>
                    <a:pt x="3883926" y="-22787"/>
                    <a:pt x="4322944" y="-17837"/>
                    <a:pt x="4495869" y="0"/>
                  </a:cubicBezTo>
                  <a:cubicBezTo>
                    <a:pt x="4668794" y="17837"/>
                    <a:pt x="4847916" y="13346"/>
                    <a:pt x="4952269" y="0"/>
                  </a:cubicBezTo>
                  <a:cubicBezTo>
                    <a:pt x="5056622" y="-13346"/>
                    <a:pt x="5341760" y="-24799"/>
                    <a:pt x="5604269" y="0"/>
                  </a:cubicBezTo>
                  <a:cubicBezTo>
                    <a:pt x="5866778" y="24799"/>
                    <a:pt x="6414489" y="-2116"/>
                    <a:pt x="6647469" y="0"/>
                  </a:cubicBezTo>
                  <a:cubicBezTo>
                    <a:pt x="6709292" y="-14908"/>
                    <a:pt x="6776644" y="51273"/>
                    <a:pt x="6774939" y="127470"/>
                  </a:cubicBezTo>
                  <a:cubicBezTo>
                    <a:pt x="6803364" y="461459"/>
                    <a:pt x="6797945" y="700786"/>
                    <a:pt x="6774939" y="873235"/>
                  </a:cubicBezTo>
                  <a:cubicBezTo>
                    <a:pt x="6751933" y="1045685"/>
                    <a:pt x="6803207" y="1247527"/>
                    <a:pt x="6774939" y="1618999"/>
                  </a:cubicBezTo>
                  <a:cubicBezTo>
                    <a:pt x="6746671" y="1990471"/>
                    <a:pt x="6744155" y="2430385"/>
                    <a:pt x="6774939" y="2889561"/>
                  </a:cubicBezTo>
                  <a:cubicBezTo>
                    <a:pt x="6773354" y="2952263"/>
                    <a:pt x="6720503" y="3022594"/>
                    <a:pt x="6647469" y="3017031"/>
                  </a:cubicBezTo>
                  <a:cubicBezTo>
                    <a:pt x="6362218" y="3015904"/>
                    <a:pt x="6345756" y="3025508"/>
                    <a:pt x="6060669" y="3017031"/>
                  </a:cubicBezTo>
                  <a:cubicBezTo>
                    <a:pt x="5775582" y="3008554"/>
                    <a:pt x="5745382" y="2995046"/>
                    <a:pt x="5604269" y="3017031"/>
                  </a:cubicBezTo>
                  <a:cubicBezTo>
                    <a:pt x="5463156" y="3039016"/>
                    <a:pt x="5096216" y="3008714"/>
                    <a:pt x="4952269" y="3017031"/>
                  </a:cubicBezTo>
                  <a:cubicBezTo>
                    <a:pt x="4808322" y="3025348"/>
                    <a:pt x="4456338" y="2981671"/>
                    <a:pt x="4235069" y="3017031"/>
                  </a:cubicBezTo>
                  <a:cubicBezTo>
                    <a:pt x="4013800" y="3052391"/>
                    <a:pt x="3814909" y="3043160"/>
                    <a:pt x="3517869" y="3017031"/>
                  </a:cubicBezTo>
                  <a:cubicBezTo>
                    <a:pt x="3220829" y="2990902"/>
                    <a:pt x="3189898" y="3028590"/>
                    <a:pt x="3061470" y="3017031"/>
                  </a:cubicBezTo>
                  <a:cubicBezTo>
                    <a:pt x="2933042" y="3005472"/>
                    <a:pt x="2709986" y="3007591"/>
                    <a:pt x="2539870" y="3017031"/>
                  </a:cubicBezTo>
                  <a:cubicBezTo>
                    <a:pt x="2369754" y="3026471"/>
                    <a:pt x="2226282" y="3014671"/>
                    <a:pt x="2018270" y="3017031"/>
                  </a:cubicBezTo>
                  <a:cubicBezTo>
                    <a:pt x="1810258" y="3019391"/>
                    <a:pt x="1554719" y="3022335"/>
                    <a:pt x="1301070" y="3017031"/>
                  </a:cubicBezTo>
                  <a:cubicBezTo>
                    <a:pt x="1047421" y="3011727"/>
                    <a:pt x="511667" y="2997995"/>
                    <a:pt x="127470" y="3017031"/>
                  </a:cubicBezTo>
                  <a:cubicBezTo>
                    <a:pt x="66594" y="3028757"/>
                    <a:pt x="1038" y="2949618"/>
                    <a:pt x="0" y="2889561"/>
                  </a:cubicBezTo>
                  <a:cubicBezTo>
                    <a:pt x="-15881" y="2681638"/>
                    <a:pt x="-6019" y="2573251"/>
                    <a:pt x="0" y="2281901"/>
                  </a:cubicBezTo>
                  <a:cubicBezTo>
                    <a:pt x="6019" y="1990551"/>
                    <a:pt x="5726" y="1913470"/>
                    <a:pt x="0" y="1618999"/>
                  </a:cubicBezTo>
                  <a:cubicBezTo>
                    <a:pt x="-5726" y="1324528"/>
                    <a:pt x="-5298" y="1290225"/>
                    <a:pt x="0" y="1011339"/>
                  </a:cubicBezTo>
                  <a:cubicBezTo>
                    <a:pt x="5298" y="732453"/>
                    <a:pt x="-33095" y="312617"/>
                    <a:pt x="0" y="127470"/>
                  </a:cubicBezTo>
                  <a:close/>
                </a:path>
              </a:pathLst>
            </a:custGeom>
            <a:solidFill>
              <a:schemeClr val="bg1">
                <a:alpha val="85000"/>
              </a:schemeClr>
            </a:solidFill>
            <a:ln w="38100">
              <a:solidFill>
                <a:schemeClr val="tx1"/>
              </a:solidFill>
              <a:extLst>
                <a:ext uri="{C807C97D-BFC1-408E-A445-0C87EB9F89A2}">
                  <ask:lineSketchStyleProps xmlns:ask="http://schemas.microsoft.com/office/drawing/2018/sketchyshapes" sd="1860289983">
                    <a:prstGeom prst="roundRect">
                      <a:avLst>
                        <a:gd name="adj" fmla="val 4225"/>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9Slide02 Noi dung dai"/>
                <a:ea typeface="+mn-ea"/>
                <a:cs typeface="+mn-cs"/>
              </a:endParaRPr>
            </a:p>
          </p:txBody>
        </p:sp>
        <p:sp>
          <p:nvSpPr>
            <p:cNvPr id="4" name="TextBox 3">
              <a:extLst>
                <a:ext uri="{FF2B5EF4-FFF2-40B4-BE49-F238E27FC236}">
                  <a16:creationId xmlns:a16="http://schemas.microsoft.com/office/drawing/2014/main" id="{37A999E1-7D9C-EBD2-7DDD-E6C0A46E45F8}"/>
                </a:ext>
              </a:extLst>
            </p:cNvPr>
            <p:cNvSpPr txBox="1"/>
            <p:nvPr/>
          </p:nvSpPr>
          <p:spPr>
            <a:xfrm>
              <a:off x="4990072" y="2467106"/>
              <a:ext cx="5610524" cy="21944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i="0" dirty="0" err="1">
                  <a:solidFill>
                    <a:schemeClr val="accent5">
                      <a:lumMod val="75000"/>
                    </a:schemeClr>
                  </a:solidFill>
                  <a:effectLst/>
                  <a:latin typeface="Cambria" panose="02040503050406030204" pitchFamily="18" charset="0"/>
                  <a:ea typeface="Cambria" panose="02040503050406030204" pitchFamily="18" charset="0"/>
                </a:rPr>
                <a:t>Chọn</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từ</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thích</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hợp</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thay</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cho</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mỗi</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bông</a:t>
              </a:r>
              <a:r>
                <a:rPr lang="en-US" sz="3600" b="1" i="0" dirty="0">
                  <a:solidFill>
                    <a:schemeClr val="accent5">
                      <a:lumMod val="75000"/>
                    </a:schemeClr>
                  </a:solidFill>
                  <a:effectLst/>
                  <a:latin typeface="Cambria" panose="02040503050406030204" pitchFamily="18" charset="0"/>
                  <a:ea typeface="Cambria" panose="02040503050406030204" pitchFamily="18" charset="0"/>
                </a:rPr>
                <a:t> </a:t>
              </a:r>
              <a:r>
                <a:rPr lang="en-US" sz="3600" b="1" i="0" dirty="0" err="1">
                  <a:solidFill>
                    <a:schemeClr val="accent5">
                      <a:lumMod val="75000"/>
                    </a:schemeClr>
                  </a:solidFill>
                  <a:effectLst/>
                  <a:latin typeface="Cambria" panose="02040503050406030204" pitchFamily="18" charset="0"/>
                  <a:ea typeface="Cambria" panose="02040503050406030204" pitchFamily="18" charset="0"/>
                </a:rPr>
                <a:t>hoa</a:t>
              </a:r>
              <a:r>
                <a:rPr lang="en-US" sz="3600" b="1" i="0" dirty="0">
                  <a:solidFill>
                    <a:schemeClr val="accent5">
                      <a:lumMod val="75000"/>
                    </a:schemeClr>
                  </a:solidFill>
                  <a:effectLst/>
                  <a:latin typeface="Cambria" panose="02040503050406030204" pitchFamily="18" charset="0"/>
                  <a:ea typeface="Cambria" panose="02040503050406030204" pitchFamily="18" charset="0"/>
                </a:rPr>
                <a:t>.</a:t>
              </a:r>
              <a:endParaRPr kumimoji="0" lang="en-US" sz="3600" b="1" i="0" u="none" strike="noStrike" kern="1200" cap="none" spc="0" normalizeH="0" baseline="0" noProof="0" dirty="0">
                <a:ln>
                  <a:noFill/>
                </a:ln>
                <a:solidFill>
                  <a:schemeClr val="accent5">
                    <a:lumMod val="75000"/>
                  </a:schemeClr>
                </a:solidFill>
                <a:effectLst/>
                <a:uLnTx/>
                <a:uFillTx/>
                <a:latin typeface="Cambria" panose="02040503050406030204" pitchFamily="18" charset="0"/>
                <a:ea typeface="Cambria" panose="02040503050406030204" pitchFamily="18" charset="0"/>
                <a:cs typeface="Mali Medium" panose="00000600000000000000" pitchFamily="2" charset="-34"/>
              </a:endParaRPr>
            </a:p>
          </p:txBody>
        </p:sp>
      </p:grpSp>
      <p:pic>
        <p:nvPicPr>
          <p:cNvPr id="5" name="Picture 4">
            <a:extLst>
              <a:ext uri="{FF2B5EF4-FFF2-40B4-BE49-F238E27FC236}">
                <a16:creationId xmlns:a16="http://schemas.microsoft.com/office/drawing/2014/main" id="{169BCB07-CDED-E632-5A9D-8D7BF6BF705E}"/>
              </a:ext>
            </a:extLst>
          </p:cNvPr>
          <p:cNvPicPr>
            <a:picLocks noChangeAspect="1"/>
          </p:cNvPicPr>
          <p:nvPr/>
        </p:nvPicPr>
        <p:blipFill rotWithShape="1">
          <a:blip r:embed="rId5">
            <a:extLst>
              <a:ext uri="{28A0092B-C50C-407E-A947-70E740481C1C}">
                <a14:useLocalDpi xmlns:a14="http://schemas.microsoft.com/office/drawing/2010/main" val="0"/>
              </a:ext>
            </a:extLst>
          </a:blip>
          <a:srcRect l="51609" t="-424" r="25639" b="-182"/>
          <a:stretch/>
        </p:blipFill>
        <p:spPr>
          <a:xfrm>
            <a:off x="304800" y="228600"/>
            <a:ext cx="1048778" cy="1040400"/>
          </a:xfrm>
          <a:prstGeom prst="rect">
            <a:avLst/>
          </a:prstGeom>
        </p:spPr>
      </p:pic>
      <p:sp>
        <p:nvSpPr>
          <p:cNvPr id="6" name="图形">
            <a:extLst>
              <a:ext uri="{FF2B5EF4-FFF2-40B4-BE49-F238E27FC236}">
                <a16:creationId xmlns:a16="http://schemas.microsoft.com/office/drawing/2014/main" id="{516422E2-ED8A-0EF8-565A-1D516C939D22}"/>
              </a:ext>
            </a:extLst>
          </p:cNvPr>
          <p:cNvSpPr/>
          <p:nvPr>
            <p:custDataLst>
              <p:tags r:id="rId1"/>
            </p:custDataLst>
          </p:nvPr>
        </p:nvSpPr>
        <p:spPr>
          <a:xfrm>
            <a:off x="829189" y="1524000"/>
            <a:ext cx="2799715" cy="761667"/>
          </a:xfrm>
          <a:prstGeom prst="roundRect">
            <a:avLst>
              <a:gd name="adj" fmla="val 50000"/>
            </a:avLst>
          </a:prstGeom>
          <a:solidFill>
            <a:srgbClr val="F4DE00"/>
          </a:solidFill>
          <a:ln w="25400">
            <a:noFill/>
          </a:ln>
          <a:effectLst>
            <a:outerShdw blurRad="247650" dist="53492" dir="5400000" algn="ctr" rotWithShape="0">
              <a:srgbClr val="F1947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6286" tIns="48143" rIns="96286" bIns="48143"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vi-VN" sz="4400" dirty="0">
                <a:solidFill>
                  <a:schemeClr val="tx1"/>
                </a:solidFill>
                <a:ea typeface="思源黑体 CN Normal" panose="020B0400000000000000" charset="-122"/>
                <a:cs typeface="思源黑体 CN Normal" panose="020B0400000000000000" charset="-122"/>
              </a:rPr>
              <a:t> n</a:t>
            </a:r>
            <a:r>
              <a:rPr kumimoji="0" lang="vi-VN"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rPr>
              <a:t>hiều</a:t>
            </a:r>
            <a:endParaRPr kumimoji="0" lang="en-US"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endParaRPr>
          </a:p>
        </p:txBody>
      </p:sp>
      <p:sp>
        <p:nvSpPr>
          <p:cNvPr id="9" name="图形">
            <a:extLst>
              <a:ext uri="{FF2B5EF4-FFF2-40B4-BE49-F238E27FC236}">
                <a16:creationId xmlns:a16="http://schemas.microsoft.com/office/drawing/2014/main" id="{29EE4DBD-4AEF-C72A-7A36-AC4A5F1A3BAF}"/>
              </a:ext>
            </a:extLst>
          </p:cNvPr>
          <p:cNvSpPr/>
          <p:nvPr>
            <p:custDataLst>
              <p:tags r:id="rId2"/>
            </p:custDataLst>
          </p:nvPr>
        </p:nvSpPr>
        <p:spPr>
          <a:xfrm>
            <a:off x="4591685" y="1549400"/>
            <a:ext cx="2799715" cy="761667"/>
          </a:xfrm>
          <a:prstGeom prst="roundRect">
            <a:avLst>
              <a:gd name="adj" fmla="val 50000"/>
            </a:avLst>
          </a:prstGeom>
          <a:solidFill>
            <a:srgbClr val="F4DE00"/>
          </a:solidFill>
          <a:ln w="25400">
            <a:noFill/>
          </a:ln>
          <a:effectLst>
            <a:outerShdw blurRad="247650" dist="53492" dir="5400000" algn="ctr" rotWithShape="0">
              <a:srgbClr val="F1947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6286" tIns="48143" rIns="96286" bIns="48143"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vi-VN" sz="4400" dirty="0">
                <a:solidFill>
                  <a:schemeClr val="tx1"/>
                </a:solidFill>
                <a:ea typeface="思源黑体 CN Normal" panose="020B0400000000000000" charset="-122"/>
                <a:cs typeface="思源黑体 CN Normal" panose="020B0400000000000000" charset="-122"/>
              </a:rPr>
              <a:t> đông</a:t>
            </a:r>
            <a:endParaRPr kumimoji="0" lang="en-US"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endParaRPr>
          </a:p>
        </p:txBody>
      </p:sp>
      <p:sp>
        <p:nvSpPr>
          <p:cNvPr id="10" name="图形">
            <a:extLst>
              <a:ext uri="{FF2B5EF4-FFF2-40B4-BE49-F238E27FC236}">
                <a16:creationId xmlns:a16="http://schemas.microsoft.com/office/drawing/2014/main" id="{75620593-C65A-4868-DAE0-9D08AD067C0C}"/>
              </a:ext>
            </a:extLst>
          </p:cNvPr>
          <p:cNvSpPr/>
          <p:nvPr>
            <p:custDataLst>
              <p:tags r:id="rId3"/>
            </p:custDataLst>
          </p:nvPr>
        </p:nvSpPr>
        <p:spPr>
          <a:xfrm>
            <a:off x="8229600" y="1549400"/>
            <a:ext cx="2799715" cy="761667"/>
          </a:xfrm>
          <a:prstGeom prst="roundRect">
            <a:avLst>
              <a:gd name="adj" fmla="val 50000"/>
            </a:avLst>
          </a:prstGeom>
          <a:solidFill>
            <a:srgbClr val="F4DE00"/>
          </a:solidFill>
          <a:ln w="25400">
            <a:noFill/>
          </a:ln>
          <a:effectLst>
            <a:outerShdw blurRad="247650" dist="53492" dir="5400000" algn="ctr" rotWithShape="0">
              <a:srgbClr val="F1947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6286" tIns="48143" rIns="96286" bIns="48143"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vi-VN" sz="4400" dirty="0">
                <a:solidFill>
                  <a:schemeClr val="tx1"/>
                </a:solidFill>
                <a:ea typeface="思源黑体 CN Normal" panose="020B0400000000000000" charset="-122"/>
                <a:cs typeface="思源黑体 CN Normal" panose="020B0400000000000000" charset="-122"/>
              </a:rPr>
              <a:t> đầy</a:t>
            </a:r>
            <a:endParaRPr kumimoji="0" lang="en-US" sz="4400" b="0" i="0" u="none" strike="noStrike" kern="1200" cap="none" spc="0" normalizeH="0" baseline="0" noProof="0" dirty="0">
              <a:ln>
                <a:noFill/>
              </a:ln>
              <a:solidFill>
                <a:schemeClr val="tx1"/>
              </a:solidFill>
              <a:effectLst/>
              <a:uLnTx/>
              <a:uFillTx/>
              <a:ea typeface="思源黑体 CN Normal" panose="020B0400000000000000" charset="-122"/>
              <a:cs typeface="思源黑体 CN Normal" panose="020B0400000000000000" charset="-122"/>
            </a:endParaRPr>
          </a:p>
        </p:txBody>
      </p:sp>
      <p:pic>
        <p:nvPicPr>
          <p:cNvPr id="12" name="Picture 11">
            <a:extLst>
              <a:ext uri="{FF2B5EF4-FFF2-40B4-BE49-F238E27FC236}">
                <a16:creationId xmlns:a16="http://schemas.microsoft.com/office/drawing/2014/main" id="{1367AEE6-CDFD-4130-B2C9-B25575459025}"/>
              </a:ext>
            </a:extLst>
          </p:cNvPr>
          <p:cNvPicPr>
            <a:picLocks noChangeAspect="1"/>
          </p:cNvPicPr>
          <p:nvPr/>
        </p:nvPicPr>
        <p:blipFill>
          <a:blip r:embed="rId6"/>
          <a:stretch>
            <a:fillRect/>
          </a:stretch>
        </p:blipFill>
        <p:spPr>
          <a:xfrm>
            <a:off x="6861775" y="2610365"/>
            <a:ext cx="5196702" cy="2278118"/>
          </a:xfrm>
          <a:prstGeom prst="rect">
            <a:avLst/>
          </a:prstGeom>
          <a:ln>
            <a:noFill/>
          </a:ln>
          <a:effectLst>
            <a:softEdge rad="112500"/>
          </a:effectLst>
        </p:spPr>
      </p:pic>
      <p:grpSp>
        <p:nvGrpSpPr>
          <p:cNvPr id="16" name="Group 15">
            <a:extLst>
              <a:ext uri="{FF2B5EF4-FFF2-40B4-BE49-F238E27FC236}">
                <a16:creationId xmlns:a16="http://schemas.microsoft.com/office/drawing/2014/main" id="{C0B82CFC-46FF-0ADE-7DE2-CEB8975E7C60}"/>
              </a:ext>
            </a:extLst>
          </p:cNvPr>
          <p:cNvGrpSpPr/>
          <p:nvPr/>
        </p:nvGrpSpPr>
        <p:grpSpPr>
          <a:xfrm>
            <a:off x="381000" y="2439522"/>
            <a:ext cx="3733800" cy="655118"/>
            <a:chOff x="494408" y="2450852"/>
            <a:chExt cx="3733800" cy="655118"/>
          </a:xfrm>
        </p:grpSpPr>
        <p:sp>
          <p:nvSpPr>
            <p:cNvPr id="13" name="TextBox 12">
              <a:extLst>
                <a:ext uri="{FF2B5EF4-FFF2-40B4-BE49-F238E27FC236}">
                  <a16:creationId xmlns:a16="http://schemas.microsoft.com/office/drawing/2014/main" id="{E7C39CF1-B9CB-903E-5A1F-76372D324C79}"/>
                </a:ext>
              </a:extLst>
            </p:cNvPr>
            <p:cNvSpPr txBox="1"/>
            <p:nvPr/>
          </p:nvSpPr>
          <p:spPr>
            <a:xfrm>
              <a:off x="494408" y="2450852"/>
              <a:ext cx="3733800"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a.         như kiến.</a:t>
              </a:r>
              <a:endParaRPr lang="en-US" sz="3600" dirty="0">
                <a:solidFill>
                  <a:srgbClr val="0070C0"/>
                </a:solidFill>
                <a:latin typeface="Cambria" panose="02040503050406030204" pitchFamily="18" charset="0"/>
                <a:ea typeface="Cambria" panose="02040503050406030204" pitchFamily="18" charset="0"/>
              </a:endParaRPr>
            </a:p>
          </p:txBody>
        </p:sp>
        <p:pic>
          <p:nvPicPr>
            <p:cNvPr id="14" name="Picture 13" descr="A blue flower with yellow center&#10;&#10;AI-generated content may be incorrect.">
              <a:extLst>
                <a:ext uri="{FF2B5EF4-FFF2-40B4-BE49-F238E27FC236}">
                  <a16:creationId xmlns:a16="http://schemas.microsoft.com/office/drawing/2014/main" id="{9BA6FAE3-E5E6-C30C-10FD-EEF5F5148D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5939" y="2520347"/>
              <a:ext cx="585916" cy="585623"/>
            </a:xfrm>
            <a:prstGeom prst="rect">
              <a:avLst/>
            </a:prstGeom>
          </p:spPr>
        </p:pic>
      </p:grpSp>
      <p:grpSp>
        <p:nvGrpSpPr>
          <p:cNvPr id="17" name="Group 16">
            <a:extLst>
              <a:ext uri="{FF2B5EF4-FFF2-40B4-BE49-F238E27FC236}">
                <a16:creationId xmlns:a16="http://schemas.microsoft.com/office/drawing/2014/main" id="{83043A64-066E-8FEF-0BD2-FA3A59CA22E5}"/>
              </a:ext>
            </a:extLst>
          </p:cNvPr>
          <p:cNvGrpSpPr/>
          <p:nvPr/>
        </p:nvGrpSpPr>
        <p:grpSpPr>
          <a:xfrm>
            <a:off x="381000" y="3234006"/>
            <a:ext cx="6685915" cy="646331"/>
            <a:chOff x="494408" y="2450852"/>
            <a:chExt cx="6685915" cy="646331"/>
          </a:xfrm>
        </p:grpSpPr>
        <p:sp>
          <p:nvSpPr>
            <p:cNvPr id="18" name="TextBox 17">
              <a:extLst>
                <a:ext uri="{FF2B5EF4-FFF2-40B4-BE49-F238E27FC236}">
                  <a16:creationId xmlns:a16="http://schemas.microsoft.com/office/drawing/2014/main" id="{CC68A6FF-FBE0-B875-C234-43798939B371}"/>
                </a:ext>
              </a:extLst>
            </p:cNvPr>
            <p:cNvSpPr txBox="1"/>
            <p:nvPr/>
          </p:nvSpPr>
          <p:spPr>
            <a:xfrm>
              <a:off x="494408" y="2450852"/>
              <a:ext cx="6685915"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b. Năng mưa thì giếng năng        .</a:t>
              </a:r>
              <a:endParaRPr lang="en-US" sz="3600" dirty="0">
                <a:solidFill>
                  <a:srgbClr val="0070C0"/>
                </a:solidFill>
                <a:latin typeface="Cambria" panose="02040503050406030204" pitchFamily="18" charset="0"/>
                <a:ea typeface="Cambria" panose="02040503050406030204" pitchFamily="18" charset="0"/>
              </a:endParaRPr>
            </a:p>
          </p:txBody>
        </p:sp>
        <p:pic>
          <p:nvPicPr>
            <p:cNvPr id="19" name="Picture 18" descr="A blue flower with yellow center&#10;&#10;AI-generated content may be incorrect.">
              <a:extLst>
                <a:ext uri="{FF2B5EF4-FFF2-40B4-BE49-F238E27FC236}">
                  <a16:creationId xmlns:a16="http://schemas.microsoft.com/office/drawing/2014/main" id="{858DA175-706B-98E4-DC3E-265304F9075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76410" y="2506565"/>
              <a:ext cx="585916" cy="585623"/>
            </a:xfrm>
            <a:prstGeom prst="rect">
              <a:avLst/>
            </a:prstGeom>
          </p:spPr>
        </p:pic>
      </p:grpSp>
      <p:grpSp>
        <p:nvGrpSpPr>
          <p:cNvPr id="20" name="Group 19">
            <a:extLst>
              <a:ext uri="{FF2B5EF4-FFF2-40B4-BE49-F238E27FC236}">
                <a16:creationId xmlns:a16="http://schemas.microsoft.com/office/drawing/2014/main" id="{F5CBFF79-0F9B-3A02-BFD7-C3B73612BFFD}"/>
              </a:ext>
            </a:extLst>
          </p:cNvPr>
          <p:cNvGrpSpPr/>
          <p:nvPr/>
        </p:nvGrpSpPr>
        <p:grpSpPr>
          <a:xfrm>
            <a:off x="381000" y="3962400"/>
            <a:ext cx="7391400" cy="646331"/>
            <a:chOff x="494408" y="2450852"/>
            <a:chExt cx="7391400" cy="646331"/>
          </a:xfrm>
        </p:grpSpPr>
        <p:sp>
          <p:nvSpPr>
            <p:cNvPr id="21" name="TextBox 20">
              <a:extLst>
                <a:ext uri="{FF2B5EF4-FFF2-40B4-BE49-F238E27FC236}">
                  <a16:creationId xmlns:a16="http://schemas.microsoft.com/office/drawing/2014/main" id="{3456995E-144B-B921-FB5A-435610F6D9CB}"/>
                </a:ext>
              </a:extLst>
            </p:cNvPr>
            <p:cNvSpPr txBox="1"/>
            <p:nvPr/>
          </p:nvSpPr>
          <p:spPr>
            <a:xfrm>
              <a:off x="494408" y="2450852"/>
              <a:ext cx="7391400"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c.        sao thì nắng, vắng sao thì mưa.</a:t>
              </a:r>
              <a:endParaRPr lang="en-US" sz="3600" dirty="0">
                <a:solidFill>
                  <a:srgbClr val="0070C0"/>
                </a:solidFill>
                <a:latin typeface="Cambria" panose="02040503050406030204" pitchFamily="18" charset="0"/>
                <a:ea typeface="Cambria" panose="02040503050406030204" pitchFamily="18" charset="0"/>
              </a:endParaRPr>
            </a:p>
          </p:txBody>
        </p:sp>
        <p:pic>
          <p:nvPicPr>
            <p:cNvPr id="22" name="Picture 21" descr="A blue flower with yellow center&#10;&#10;AI-generated content may be incorrect.">
              <a:extLst>
                <a:ext uri="{FF2B5EF4-FFF2-40B4-BE49-F238E27FC236}">
                  <a16:creationId xmlns:a16="http://schemas.microsoft.com/office/drawing/2014/main" id="{E63D7B5A-3F0D-004D-B0F0-9769A069897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0780" y="2511560"/>
              <a:ext cx="585916" cy="585623"/>
            </a:xfrm>
            <a:prstGeom prst="rect">
              <a:avLst/>
            </a:prstGeom>
          </p:spPr>
        </p:pic>
      </p:grpSp>
      <p:grpSp>
        <p:nvGrpSpPr>
          <p:cNvPr id="23" name="Group 22">
            <a:extLst>
              <a:ext uri="{FF2B5EF4-FFF2-40B4-BE49-F238E27FC236}">
                <a16:creationId xmlns:a16="http://schemas.microsoft.com/office/drawing/2014/main" id="{1BD6E2F0-276F-CC63-DF31-4558EC918663}"/>
              </a:ext>
            </a:extLst>
          </p:cNvPr>
          <p:cNvGrpSpPr/>
          <p:nvPr/>
        </p:nvGrpSpPr>
        <p:grpSpPr>
          <a:xfrm>
            <a:off x="304800" y="4802274"/>
            <a:ext cx="7162800" cy="1200329"/>
            <a:chOff x="494408" y="2450852"/>
            <a:chExt cx="7162800" cy="1200329"/>
          </a:xfrm>
        </p:grpSpPr>
        <p:sp>
          <p:nvSpPr>
            <p:cNvPr id="24" name="TextBox 23">
              <a:extLst>
                <a:ext uri="{FF2B5EF4-FFF2-40B4-BE49-F238E27FC236}">
                  <a16:creationId xmlns:a16="http://schemas.microsoft.com/office/drawing/2014/main" id="{5B0EC642-F197-E55A-7821-15B2142E60FD}"/>
                </a:ext>
              </a:extLst>
            </p:cNvPr>
            <p:cNvSpPr txBox="1"/>
            <p:nvPr/>
          </p:nvSpPr>
          <p:spPr>
            <a:xfrm>
              <a:off x="494408" y="2450852"/>
              <a:ext cx="7162800" cy="1200329"/>
            </a:xfrm>
            <a:prstGeom prst="rect">
              <a:avLst/>
            </a:prstGeom>
            <a:noFill/>
          </p:spPr>
          <p:txBody>
            <a:bodyPr wrap="square" rtlCol="0">
              <a:spAutoFit/>
            </a:bodyPr>
            <a:lstStyle/>
            <a:p>
              <a:pPr marL="742950" indent="-742950" algn="just">
                <a:buAutoNum type="alphaLcPeriod" startAt="4"/>
              </a:pPr>
              <a:r>
                <a:rPr lang="vi-VN" sz="3600" dirty="0">
                  <a:solidFill>
                    <a:srgbClr val="0070C0"/>
                  </a:solidFill>
                  <a:latin typeface="Cambria" panose="02040503050406030204" pitchFamily="18" charset="0"/>
                  <a:ea typeface="Cambria" panose="02040503050406030204" pitchFamily="18" charset="0"/>
                </a:rPr>
                <a:t>  Con ơi nhớ lấy câu này</a:t>
              </a:r>
            </a:p>
            <a:p>
              <a:pPr algn="just"/>
              <a:r>
                <a:rPr lang="vi-VN" sz="3600" dirty="0">
                  <a:solidFill>
                    <a:srgbClr val="0070C0"/>
                  </a:solidFill>
                  <a:latin typeface="Cambria" panose="02040503050406030204" pitchFamily="18" charset="0"/>
                  <a:ea typeface="Cambria" panose="02040503050406030204" pitchFamily="18" charset="0"/>
                </a:rPr>
                <a:t>    Sông sâu chớ lội, đò        chớ qua.</a:t>
              </a:r>
              <a:endParaRPr lang="en-US" sz="3600" dirty="0">
                <a:solidFill>
                  <a:srgbClr val="0070C0"/>
                </a:solidFill>
                <a:latin typeface="Cambria" panose="02040503050406030204" pitchFamily="18" charset="0"/>
                <a:ea typeface="Cambria" panose="02040503050406030204" pitchFamily="18" charset="0"/>
              </a:endParaRPr>
            </a:p>
          </p:txBody>
        </p:sp>
        <p:pic>
          <p:nvPicPr>
            <p:cNvPr id="25" name="Picture 24" descr="A blue flower with yellow center&#10;&#10;AI-generated content may be incorrect.">
              <a:extLst>
                <a:ext uri="{FF2B5EF4-FFF2-40B4-BE49-F238E27FC236}">
                  <a16:creationId xmlns:a16="http://schemas.microsoft.com/office/drawing/2014/main" id="{2C825C9B-5184-92C6-37EC-E7377F59CA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14008" y="3040856"/>
              <a:ext cx="585916" cy="585623"/>
            </a:xfrm>
            <a:prstGeom prst="rect">
              <a:avLst/>
            </a:prstGeom>
          </p:spPr>
        </p:pic>
      </p:grpSp>
      <p:sp>
        <p:nvSpPr>
          <p:cNvPr id="8" name="TextBox 7">
            <a:extLst>
              <a:ext uri="{FF2B5EF4-FFF2-40B4-BE49-F238E27FC236}">
                <a16:creationId xmlns:a16="http://schemas.microsoft.com/office/drawing/2014/main" id="{A0EF55EF-E37D-A6CA-6167-DC9543F4EAA5}"/>
              </a:ext>
            </a:extLst>
          </p:cNvPr>
          <p:cNvSpPr txBox="1"/>
          <p:nvPr/>
        </p:nvSpPr>
        <p:spPr>
          <a:xfrm>
            <a:off x="394091" y="2439521"/>
            <a:ext cx="3733800"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a. </a:t>
            </a:r>
            <a:r>
              <a:rPr lang="vi-VN" sz="3600" dirty="0">
                <a:solidFill>
                  <a:schemeClr val="accent5">
                    <a:lumMod val="75000"/>
                  </a:schemeClr>
                </a:solidFill>
                <a:latin typeface="Cambria" panose="02040503050406030204" pitchFamily="18" charset="0"/>
                <a:ea typeface="Cambria" panose="02040503050406030204" pitchFamily="18" charset="0"/>
              </a:rPr>
              <a:t>Đông</a:t>
            </a:r>
            <a:r>
              <a:rPr lang="vi-VN" sz="3600" dirty="0">
                <a:solidFill>
                  <a:srgbClr val="0070C0"/>
                </a:solidFill>
                <a:latin typeface="Cambria" panose="02040503050406030204" pitchFamily="18" charset="0"/>
                <a:ea typeface="Cambria" panose="02040503050406030204" pitchFamily="18" charset="0"/>
              </a:rPr>
              <a:t> như kiến.</a:t>
            </a:r>
            <a:endParaRPr lang="en-US" sz="3600" dirty="0">
              <a:solidFill>
                <a:srgbClr val="0070C0"/>
              </a:solidFill>
              <a:latin typeface="Cambria" panose="02040503050406030204" pitchFamily="18" charset="0"/>
              <a:ea typeface="Cambria" panose="02040503050406030204" pitchFamily="18" charset="0"/>
            </a:endParaRPr>
          </a:p>
        </p:txBody>
      </p:sp>
      <p:sp>
        <p:nvSpPr>
          <p:cNvPr id="26" name="TextBox 25">
            <a:extLst>
              <a:ext uri="{FF2B5EF4-FFF2-40B4-BE49-F238E27FC236}">
                <a16:creationId xmlns:a16="http://schemas.microsoft.com/office/drawing/2014/main" id="{DB1F5FCA-6221-60F3-E25C-7F5B28A87924}"/>
              </a:ext>
            </a:extLst>
          </p:cNvPr>
          <p:cNvSpPr txBox="1"/>
          <p:nvPr/>
        </p:nvSpPr>
        <p:spPr>
          <a:xfrm>
            <a:off x="381000" y="3242793"/>
            <a:ext cx="7378309"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b. Năng mưa thì giếng năng </a:t>
            </a:r>
            <a:r>
              <a:rPr lang="vi-VN" sz="3600" dirty="0">
                <a:solidFill>
                  <a:schemeClr val="accent5">
                    <a:lumMod val="75000"/>
                  </a:schemeClr>
                </a:solidFill>
                <a:latin typeface="Cambria" panose="02040503050406030204" pitchFamily="18" charset="0"/>
                <a:ea typeface="Cambria" panose="02040503050406030204" pitchFamily="18" charset="0"/>
              </a:rPr>
              <a:t>đầy</a:t>
            </a:r>
            <a:r>
              <a:rPr lang="vi-VN" sz="3600" dirty="0">
                <a:solidFill>
                  <a:srgbClr val="0070C0"/>
                </a:solidFill>
                <a:latin typeface="Cambria" panose="02040503050406030204" pitchFamily="18" charset="0"/>
                <a:ea typeface="Cambria" panose="02040503050406030204" pitchFamily="18" charset="0"/>
              </a:rPr>
              <a:t>.</a:t>
            </a:r>
            <a:endParaRPr lang="en-US" sz="3600" dirty="0">
              <a:solidFill>
                <a:srgbClr val="0070C0"/>
              </a:solidFill>
              <a:latin typeface="Cambria" panose="02040503050406030204" pitchFamily="18" charset="0"/>
              <a:ea typeface="Cambria" panose="02040503050406030204" pitchFamily="18" charset="0"/>
            </a:endParaRPr>
          </a:p>
        </p:txBody>
      </p:sp>
      <p:sp>
        <p:nvSpPr>
          <p:cNvPr id="30" name="TextBox 29">
            <a:extLst>
              <a:ext uri="{FF2B5EF4-FFF2-40B4-BE49-F238E27FC236}">
                <a16:creationId xmlns:a16="http://schemas.microsoft.com/office/drawing/2014/main" id="{CEC0A215-D978-1D6F-B768-BDBE7F786C9F}"/>
              </a:ext>
            </a:extLst>
          </p:cNvPr>
          <p:cNvSpPr txBox="1"/>
          <p:nvPr/>
        </p:nvSpPr>
        <p:spPr>
          <a:xfrm>
            <a:off x="381000" y="3984622"/>
            <a:ext cx="8305801" cy="646331"/>
          </a:xfrm>
          <a:prstGeom prst="rect">
            <a:avLst/>
          </a:prstGeom>
          <a:noFill/>
        </p:spPr>
        <p:txBody>
          <a:bodyPr wrap="square" rtlCol="0">
            <a:spAutoFit/>
          </a:bodyPr>
          <a:lstStyle/>
          <a:p>
            <a:pPr algn="just"/>
            <a:r>
              <a:rPr lang="vi-VN" sz="3600" dirty="0">
                <a:solidFill>
                  <a:srgbClr val="0070C0"/>
                </a:solidFill>
                <a:latin typeface="Cambria" panose="02040503050406030204" pitchFamily="18" charset="0"/>
                <a:ea typeface="Cambria" panose="02040503050406030204" pitchFamily="18" charset="0"/>
              </a:rPr>
              <a:t>c. </a:t>
            </a:r>
            <a:r>
              <a:rPr lang="vi-VN" sz="3600" dirty="0">
                <a:solidFill>
                  <a:schemeClr val="accent5">
                    <a:lumMod val="75000"/>
                  </a:schemeClr>
                </a:solidFill>
                <a:latin typeface="Cambria" panose="02040503050406030204" pitchFamily="18" charset="0"/>
                <a:ea typeface="Cambria" panose="02040503050406030204" pitchFamily="18" charset="0"/>
              </a:rPr>
              <a:t>Nhiều</a:t>
            </a:r>
            <a:r>
              <a:rPr lang="vi-VN" sz="3600" dirty="0">
                <a:solidFill>
                  <a:srgbClr val="0070C0"/>
                </a:solidFill>
                <a:latin typeface="Cambria" panose="02040503050406030204" pitchFamily="18" charset="0"/>
                <a:ea typeface="Cambria" panose="02040503050406030204" pitchFamily="18" charset="0"/>
              </a:rPr>
              <a:t> sao thì nắng, vắng sao thì mưa.</a:t>
            </a:r>
            <a:endParaRPr lang="en-US" sz="3600" dirty="0">
              <a:solidFill>
                <a:srgbClr val="0070C0"/>
              </a:solidFill>
              <a:latin typeface="Cambria" panose="02040503050406030204" pitchFamily="18" charset="0"/>
              <a:ea typeface="Cambria" panose="02040503050406030204" pitchFamily="18" charset="0"/>
            </a:endParaRPr>
          </a:p>
        </p:txBody>
      </p:sp>
      <p:sp>
        <p:nvSpPr>
          <p:cNvPr id="33" name="TextBox 32">
            <a:extLst>
              <a:ext uri="{FF2B5EF4-FFF2-40B4-BE49-F238E27FC236}">
                <a16:creationId xmlns:a16="http://schemas.microsoft.com/office/drawing/2014/main" id="{AEA5CA3A-0D16-FEA9-EC53-1675BE5072EC}"/>
              </a:ext>
            </a:extLst>
          </p:cNvPr>
          <p:cNvSpPr txBox="1"/>
          <p:nvPr/>
        </p:nvSpPr>
        <p:spPr>
          <a:xfrm>
            <a:off x="304800" y="4802274"/>
            <a:ext cx="7162800" cy="1200329"/>
          </a:xfrm>
          <a:prstGeom prst="rect">
            <a:avLst/>
          </a:prstGeom>
          <a:noFill/>
        </p:spPr>
        <p:txBody>
          <a:bodyPr wrap="square" rtlCol="0">
            <a:spAutoFit/>
          </a:bodyPr>
          <a:lstStyle/>
          <a:p>
            <a:pPr marL="742950" indent="-742950" algn="just">
              <a:buAutoNum type="alphaLcPeriod" startAt="4"/>
            </a:pPr>
            <a:r>
              <a:rPr lang="vi-VN" sz="3600" dirty="0">
                <a:solidFill>
                  <a:srgbClr val="0070C0"/>
                </a:solidFill>
                <a:latin typeface="Cambria" panose="02040503050406030204" pitchFamily="18" charset="0"/>
                <a:ea typeface="Cambria" panose="02040503050406030204" pitchFamily="18" charset="0"/>
              </a:rPr>
              <a:t>  Con ơi nhớ lấy câu này</a:t>
            </a:r>
          </a:p>
          <a:p>
            <a:pPr algn="just"/>
            <a:r>
              <a:rPr lang="vi-VN" sz="3600" dirty="0">
                <a:solidFill>
                  <a:srgbClr val="0070C0"/>
                </a:solidFill>
                <a:latin typeface="Cambria" panose="02040503050406030204" pitchFamily="18" charset="0"/>
                <a:ea typeface="Cambria" panose="02040503050406030204" pitchFamily="18" charset="0"/>
              </a:rPr>
              <a:t>    Sông sâu chớ lội, đò </a:t>
            </a:r>
            <a:r>
              <a:rPr lang="vi-VN" sz="3600" dirty="0">
                <a:solidFill>
                  <a:schemeClr val="accent5">
                    <a:lumMod val="75000"/>
                  </a:schemeClr>
                </a:solidFill>
                <a:latin typeface="Cambria" panose="02040503050406030204" pitchFamily="18" charset="0"/>
                <a:ea typeface="Cambria" panose="02040503050406030204" pitchFamily="18" charset="0"/>
              </a:rPr>
              <a:t>đầy</a:t>
            </a:r>
            <a:r>
              <a:rPr lang="vi-VN" sz="3600" dirty="0">
                <a:solidFill>
                  <a:srgbClr val="0070C0"/>
                </a:solidFill>
                <a:latin typeface="Cambria" panose="02040503050406030204" pitchFamily="18" charset="0"/>
                <a:ea typeface="Cambria" panose="02040503050406030204" pitchFamily="18" charset="0"/>
              </a:rPr>
              <a:t> chớ qua.</a:t>
            </a:r>
            <a:endParaRPr lang="en-US" sz="3600" dirty="0">
              <a:solidFill>
                <a:srgbClr val="0070C0"/>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302648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xit" presetSubtype="10" fill="hold" nodeType="clickEffect">
                                  <p:stCondLst>
                                    <p:cond delay="0"/>
                                  </p:stCondLst>
                                  <p:childTnLst>
                                    <p:animEffect transition="out" filter="randombar(horizontal)">
                                      <p:cBhvr>
                                        <p:cTn id="6" dur="500"/>
                                        <p:tgtEl>
                                          <p:spTgt spid="16"/>
                                        </p:tgtEl>
                                      </p:cBhvr>
                                    </p:animEffect>
                                    <p:set>
                                      <p:cBhvr>
                                        <p:cTn id="7" dur="1" fill="hold">
                                          <p:stCondLst>
                                            <p:cond delay="499"/>
                                          </p:stCondLst>
                                        </p:cTn>
                                        <p:tgtEl>
                                          <p:spTgt spid="16"/>
                                        </p:tgtEl>
                                        <p:attrNameLst>
                                          <p:attrName>style.visibility</p:attrName>
                                        </p:attrNameLst>
                                      </p:cBhvr>
                                      <p:to>
                                        <p:strVal val="hidden"/>
                                      </p:to>
                                    </p:set>
                                  </p:childTnLst>
                                </p:cTn>
                              </p:par>
                              <p:par>
                                <p:cTn id="8" presetID="16" presetClass="entr" presetSubtype="2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inVertical)">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xit" presetSubtype="21" fill="hold" nodeType="clickEffect">
                                  <p:stCondLst>
                                    <p:cond delay="0"/>
                                  </p:stCondLst>
                                  <p:childTnLst>
                                    <p:animEffect transition="out" filter="barn(inVertical)">
                                      <p:cBhvr>
                                        <p:cTn id="14" dur="500"/>
                                        <p:tgtEl>
                                          <p:spTgt spid="17"/>
                                        </p:tgtEl>
                                      </p:cBhvr>
                                    </p:animEffect>
                                    <p:set>
                                      <p:cBhvr>
                                        <p:cTn id="15" dur="1" fill="hold">
                                          <p:stCondLst>
                                            <p:cond delay="499"/>
                                          </p:stCondLst>
                                        </p:cTn>
                                        <p:tgtEl>
                                          <p:spTgt spid="17"/>
                                        </p:tgtEl>
                                        <p:attrNameLst>
                                          <p:attrName>style.visibility</p:attrName>
                                        </p:attrNameLst>
                                      </p:cBhvr>
                                      <p:to>
                                        <p:strVal val="hidden"/>
                                      </p:to>
                                    </p:set>
                                  </p:childTnLst>
                                </p:cTn>
                              </p:par>
                              <p:par>
                                <p:cTn id="16" presetID="16" presetClass="entr" presetSubtype="21"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barn(inVertical)">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4" presetClass="exit" presetSubtype="10" fill="hold" nodeType="clickEffect">
                                  <p:stCondLst>
                                    <p:cond delay="0"/>
                                  </p:stCondLst>
                                  <p:childTnLst>
                                    <p:animEffect transition="out" filter="randombar(horizontal)">
                                      <p:cBhvr>
                                        <p:cTn id="22" dur="500"/>
                                        <p:tgtEl>
                                          <p:spTgt spid="20"/>
                                        </p:tgtEl>
                                      </p:cBhvr>
                                    </p:animEffect>
                                    <p:set>
                                      <p:cBhvr>
                                        <p:cTn id="23" dur="1" fill="hold">
                                          <p:stCondLst>
                                            <p:cond delay="499"/>
                                          </p:stCondLst>
                                        </p:cTn>
                                        <p:tgtEl>
                                          <p:spTgt spid="20"/>
                                        </p:tgtEl>
                                        <p:attrNameLst>
                                          <p:attrName>style.visibility</p:attrName>
                                        </p:attrNameLst>
                                      </p:cBhvr>
                                      <p:to>
                                        <p:strVal val="hidden"/>
                                      </p:to>
                                    </p:set>
                                  </p:childTnLst>
                                </p:cTn>
                              </p:par>
                              <p:par>
                                <p:cTn id="24" presetID="14" presetClass="entr" presetSubtype="10"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randombar(horizontal)">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14" presetClass="exit" presetSubtype="10" fill="hold" nodeType="clickEffect">
                                  <p:stCondLst>
                                    <p:cond delay="0"/>
                                  </p:stCondLst>
                                  <p:childTnLst>
                                    <p:animEffect transition="out" filter="randombar(horizontal)">
                                      <p:cBhvr>
                                        <p:cTn id="30" dur="500"/>
                                        <p:tgtEl>
                                          <p:spTgt spid="23"/>
                                        </p:tgtEl>
                                      </p:cBhvr>
                                    </p:animEffect>
                                    <p:set>
                                      <p:cBhvr>
                                        <p:cTn id="31" dur="1" fill="hold">
                                          <p:stCondLst>
                                            <p:cond delay="499"/>
                                          </p:stCondLst>
                                        </p:cTn>
                                        <p:tgtEl>
                                          <p:spTgt spid="23"/>
                                        </p:tgtEl>
                                        <p:attrNameLst>
                                          <p:attrName>style.visibility</p:attrName>
                                        </p:attrNameLst>
                                      </p:cBhvr>
                                      <p:to>
                                        <p:strVal val="hidden"/>
                                      </p:to>
                                    </p:set>
                                  </p:childTnLst>
                                </p:cTn>
                              </p:par>
                              <p:par>
                                <p:cTn id="32" presetID="14" presetClass="entr" presetSubtype="10" fill="hold" grpId="0" nodeType="with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randombar(horizontal)">
                                      <p:cBhvr>
                                        <p:cTn id="3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6" grpId="0"/>
      <p:bldP spid="30" grpId="0"/>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8C3B8B-8455-BFC3-198F-BEDA465FA00B}"/>
              </a:ext>
            </a:extLst>
          </p:cNvPr>
          <p:cNvPicPr>
            <a:picLocks noChangeAspect="1"/>
          </p:cNvPicPr>
          <p:nvPr/>
        </p:nvPicPr>
        <p:blipFill rotWithShape="1">
          <a:blip r:embed="rId3">
            <a:extLst>
              <a:ext uri="{28A0092B-C50C-407E-A947-70E740481C1C}">
                <a14:useLocalDpi xmlns:a14="http://schemas.microsoft.com/office/drawing/2010/main" val="0"/>
              </a:ext>
            </a:extLst>
          </a:blip>
          <a:srcRect b="4249"/>
          <a:stretch/>
        </p:blipFill>
        <p:spPr>
          <a:xfrm>
            <a:off x="-152400" y="-9244"/>
            <a:ext cx="12344400" cy="6867244"/>
          </a:xfrm>
          <a:prstGeom prst="rect">
            <a:avLst/>
          </a:prstGeom>
        </p:spPr>
      </p:pic>
      <p:grpSp>
        <p:nvGrpSpPr>
          <p:cNvPr id="13" name="Group 12">
            <a:extLst>
              <a:ext uri="{FF2B5EF4-FFF2-40B4-BE49-F238E27FC236}">
                <a16:creationId xmlns:a16="http://schemas.microsoft.com/office/drawing/2014/main" id="{D7A4637A-4ADE-AE64-DABA-70D6A845C77C}"/>
              </a:ext>
            </a:extLst>
          </p:cNvPr>
          <p:cNvGrpSpPr/>
          <p:nvPr/>
        </p:nvGrpSpPr>
        <p:grpSpPr>
          <a:xfrm>
            <a:off x="2245128" y="1721946"/>
            <a:ext cx="6303900" cy="1417156"/>
            <a:chOff x="2245128" y="1721946"/>
            <a:chExt cx="6303900" cy="1417156"/>
          </a:xfrm>
        </p:grpSpPr>
        <p:sp>
          <p:nvSpPr>
            <p:cNvPr id="6" name="TextBox 5">
              <a:extLst>
                <a:ext uri="{FF2B5EF4-FFF2-40B4-BE49-F238E27FC236}">
                  <a16:creationId xmlns:a16="http://schemas.microsoft.com/office/drawing/2014/main" id="{F7D4011B-B8EA-47C8-0BC7-DB06BB830C4F}"/>
                </a:ext>
              </a:extLst>
            </p:cNvPr>
            <p:cNvSpPr txBox="1">
              <a:spLocks noChangeAspect="1"/>
            </p:cNvSpPr>
            <p:nvPr/>
          </p:nvSpPr>
          <p:spPr>
            <a:xfrm>
              <a:off x="2245128" y="1721946"/>
              <a:ext cx="6302312" cy="1417156"/>
            </a:xfrm>
            <a:custGeom>
              <a:avLst/>
              <a:gdLst/>
              <a:ahLst/>
              <a:cxnLst/>
              <a:rect l="l" t="t" r="r" b="b"/>
              <a:pathLst>
                <a:path w="6302312" h="1417156">
                  <a:moveTo>
                    <a:pt x="4280362" y="1229958"/>
                  </a:moveTo>
                  <a:cubicBezTo>
                    <a:pt x="4339273" y="1229958"/>
                    <a:pt x="4368728" y="1262126"/>
                    <a:pt x="4368728" y="1326463"/>
                  </a:cubicBezTo>
                  <a:cubicBezTo>
                    <a:pt x="4368728" y="1386925"/>
                    <a:pt x="4338885" y="1417156"/>
                    <a:pt x="4279199" y="1417156"/>
                  </a:cubicBezTo>
                  <a:cubicBezTo>
                    <a:pt x="4252844" y="1417156"/>
                    <a:pt x="4230753" y="1409404"/>
                    <a:pt x="4212924" y="1393901"/>
                  </a:cubicBezTo>
                  <a:cubicBezTo>
                    <a:pt x="4194320" y="1377623"/>
                    <a:pt x="4185019" y="1354756"/>
                    <a:pt x="4185019" y="1325301"/>
                  </a:cubicBezTo>
                  <a:cubicBezTo>
                    <a:pt x="4185019" y="1261739"/>
                    <a:pt x="4216800" y="1229958"/>
                    <a:pt x="4280362" y="1229958"/>
                  </a:cubicBezTo>
                  <a:close/>
                  <a:moveTo>
                    <a:pt x="686004" y="1164845"/>
                  </a:moveTo>
                  <a:cubicBezTo>
                    <a:pt x="686004" y="1166008"/>
                    <a:pt x="685956" y="1166153"/>
                    <a:pt x="685859" y="1165281"/>
                  </a:cubicBezTo>
                  <a:lnTo>
                    <a:pt x="685849" y="1165156"/>
                  </a:lnTo>
                  <a:close/>
                  <a:moveTo>
                    <a:pt x="3443724" y="554418"/>
                  </a:moveTo>
                  <a:lnTo>
                    <a:pt x="3403029" y="556743"/>
                  </a:lnTo>
                  <a:lnTo>
                    <a:pt x="3403029" y="638133"/>
                  </a:lnTo>
                  <a:lnTo>
                    <a:pt x="3499535" y="635808"/>
                  </a:lnTo>
                  <a:lnTo>
                    <a:pt x="3487908" y="831145"/>
                  </a:lnTo>
                  <a:cubicBezTo>
                    <a:pt x="3468529" y="830370"/>
                    <a:pt x="3452251" y="829788"/>
                    <a:pt x="3439073" y="829401"/>
                  </a:cubicBezTo>
                  <a:cubicBezTo>
                    <a:pt x="3425896" y="829013"/>
                    <a:pt x="3415432" y="828819"/>
                    <a:pt x="3407680" y="828819"/>
                  </a:cubicBezTo>
                  <a:lnTo>
                    <a:pt x="3410005" y="889281"/>
                  </a:lnTo>
                  <a:lnTo>
                    <a:pt x="3434423" y="889281"/>
                  </a:lnTo>
                  <a:cubicBezTo>
                    <a:pt x="3460778" y="889281"/>
                    <a:pt x="3479381" y="886955"/>
                    <a:pt x="3490233" y="882304"/>
                  </a:cubicBezTo>
                  <a:cubicBezTo>
                    <a:pt x="3500310" y="878429"/>
                    <a:pt x="3512713" y="866802"/>
                    <a:pt x="3527440" y="847423"/>
                  </a:cubicBezTo>
                  <a:cubicBezTo>
                    <a:pt x="3548369" y="818743"/>
                    <a:pt x="3558834" y="775334"/>
                    <a:pt x="3558834" y="717198"/>
                  </a:cubicBezTo>
                  <a:cubicBezTo>
                    <a:pt x="3558834" y="651311"/>
                    <a:pt x="3546819" y="605190"/>
                    <a:pt x="3522789" y="578835"/>
                  </a:cubicBezTo>
                  <a:cubicBezTo>
                    <a:pt x="3507286" y="562557"/>
                    <a:pt x="3480931" y="554418"/>
                    <a:pt x="3443724" y="554418"/>
                  </a:cubicBezTo>
                  <a:close/>
                  <a:moveTo>
                    <a:pt x="4287338" y="531163"/>
                  </a:moveTo>
                  <a:cubicBezTo>
                    <a:pt x="4265634" y="531163"/>
                    <a:pt x="4241217" y="541240"/>
                    <a:pt x="4214087" y="561394"/>
                  </a:cubicBezTo>
                  <a:cubicBezTo>
                    <a:pt x="4184631" y="586199"/>
                    <a:pt x="4169903" y="638909"/>
                    <a:pt x="4169903" y="719524"/>
                  </a:cubicBezTo>
                  <a:cubicBezTo>
                    <a:pt x="4169903" y="778435"/>
                    <a:pt x="4176880" y="823393"/>
                    <a:pt x="4190832" y="854399"/>
                  </a:cubicBezTo>
                  <a:cubicBezTo>
                    <a:pt x="4207886" y="897807"/>
                    <a:pt x="4239279" y="918736"/>
                    <a:pt x="4285013" y="917186"/>
                  </a:cubicBezTo>
                  <a:cubicBezTo>
                    <a:pt x="4330746" y="917186"/>
                    <a:pt x="4360589" y="896645"/>
                    <a:pt x="4374542" y="855562"/>
                  </a:cubicBezTo>
                  <a:cubicBezTo>
                    <a:pt x="4388495" y="812929"/>
                    <a:pt x="4395471" y="769521"/>
                    <a:pt x="4395471" y="725337"/>
                  </a:cubicBezTo>
                  <a:cubicBezTo>
                    <a:pt x="4395471" y="671077"/>
                    <a:pt x="4385782" y="624956"/>
                    <a:pt x="4366403" y="586974"/>
                  </a:cubicBezTo>
                  <a:cubicBezTo>
                    <a:pt x="4346249" y="549767"/>
                    <a:pt x="4319894" y="531163"/>
                    <a:pt x="4287338" y="531163"/>
                  </a:cubicBezTo>
                  <a:close/>
                  <a:moveTo>
                    <a:pt x="1887038" y="531163"/>
                  </a:moveTo>
                  <a:cubicBezTo>
                    <a:pt x="1865334" y="531163"/>
                    <a:pt x="1840917" y="541240"/>
                    <a:pt x="1813787" y="561394"/>
                  </a:cubicBezTo>
                  <a:cubicBezTo>
                    <a:pt x="1784331" y="586199"/>
                    <a:pt x="1769603" y="638909"/>
                    <a:pt x="1769603" y="719524"/>
                  </a:cubicBezTo>
                  <a:cubicBezTo>
                    <a:pt x="1769603" y="778435"/>
                    <a:pt x="1776580" y="823393"/>
                    <a:pt x="1790533" y="854399"/>
                  </a:cubicBezTo>
                  <a:cubicBezTo>
                    <a:pt x="1807586" y="897807"/>
                    <a:pt x="1838979" y="918736"/>
                    <a:pt x="1884713" y="917186"/>
                  </a:cubicBezTo>
                  <a:cubicBezTo>
                    <a:pt x="1930446" y="917186"/>
                    <a:pt x="1960290" y="896645"/>
                    <a:pt x="1974242" y="855562"/>
                  </a:cubicBezTo>
                  <a:cubicBezTo>
                    <a:pt x="1988195" y="812929"/>
                    <a:pt x="1995171" y="769521"/>
                    <a:pt x="1995171" y="725337"/>
                  </a:cubicBezTo>
                  <a:cubicBezTo>
                    <a:pt x="1995171" y="671077"/>
                    <a:pt x="1985482" y="624956"/>
                    <a:pt x="1966103" y="586974"/>
                  </a:cubicBezTo>
                  <a:cubicBezTo>
                    <a:pt x="1945949" y="549767"/>
                    <a:pt x="1919594" y="531163"/>
                    <a:pt x="1887038" y="531163"/>
                  </a:cubicBezTo>
                  <a:close/>
                  <a:moveTo>
                    <a:pt x="2619430" y="330013"/>
                  </a:moveTo>
                  <a:lnTo>
                    <a:pt x="2619430" y="576509"/>
                  </a:lnTo>
                  <a:cubicBezTo>
                    <a:pt x="2619430" y="667976"/>
                    <a:pt x="2620206" y="750917"/>
                    <a:pt x="2621756" y="825331"/>
                  </a:cubicBezTo>
                  <a:cubicBezTo>
                    <a:pt x="2623306" y="899745"/>
                    <a:pt x="2625632" y="966408"/>
                    <a:pt x="2628732" y="1025319"/>
                  </a:cubicBezTo>
                  <a:lnTo>
                    <a:pt x="2631058" y="1110198"/>
                  </a:lnTo>
                  <a:cubicBezTo>
                    <a:pt x="2631058" y="1133452"/>
                    <a:pt x="2628732" y="1147792"/>
                    <a:pt x="2624081" y="1153218"/>
                  </a:cubicBezTo>
                  <a:lnTo>
                    <a:pt x="2333402" y="1141591"/>
                  </a:lnTo>
                  <a:lnTo>
                    <a:pt x="2335727" y="596275"/>
                  </a:lnTo>
                  <a:cubicBezTo>
                    <a:pt x="2336502" y="559068"/>
                    <a:pt x="2336890" y="519148"/>
                    <a:pt x="2336890" y="476515"/>
                  </a:cubicBezTo>
                  <a:cubicBezTo>
                    <a:pt x="2336890" y="433882"/>
                    <a:pt x="2336890" y="387761"/>
                    <a:pt x="2336890" y="338152"/>
                  </a:cubicBezTo>
                  <a:lnTo>
                    <a:pt x="2404327" y="338152"/>
                  </a:lnTo>
                  <a:cubicBezTo>
                    <a:pt x="2426807" y="338152"/>
                    <a:pt x="2449867" y="337764"/>
                    <a:pt x="2473509" y="336989"/>
                  </a:cubicBezTo>
                  <a:cubicBezTo>
                    <a:pt x="2497151" y="336214"/>
                    <a:pt x="2521374" y="335051"/>
                    <a:pt x="2546179" y="333501"/>
                  </a:cubicBezTo>
                  <a:close/>
                  <a:moveTo>
                    <a:pt x="3461165" y="311409"/>
                  </a:moveTo>
                  <a:cubicBezTo>
                    <a:pt x="3576662" y="311409"/>
                    <a:pt x="3664254" y="335051"/>
                    <a:pt x="3723940" y="382335"/>
                  </a:cubicBezTo>
                  <a:cubicBezTo>
                    <a:pt x="3791378" y="435820"/>
                    <a:pt x="3825096" y="542403"/>
                    <a:pt x="3825096" y="702083"/>
                  </a:cubicBezTo>
                  <a:cubicBezTo>
                    <a:pt x="3825096" y="854787"/>
                    <a:pt x="3797191" y="965245"/>
                    <a:pt x="3741381" y="1033458"/>
                  </a:cubicBezTo>
                  <a:cubicBezTo>
                    <a:pt x="3681694" y="1107872"/>
                    <a:pt x="3566585" y="1145079"/>
                    <a:pt x="3396053" y="1145079"/>
                  </a:cubicBezTo>
                  <a:lnTo>
                    <a:pt x="3335591" y="1145079"/>
                  </a:lnTo>
                  <a:cubicBezTo>
                    <a:pt x="3241024" y="1145079"/>
                    <a:pt x="3164284" y="1143916"/>
                    <a:pt x="3105373" y="1141591"/>
                  </a:cubicBezTo>
                  <a:lnTo>
                    <a:pt x="3120488" y="856725"/>
                  </a:lnTo>
                  <a:lnTo>
                    <a:pt x="3120488" y="831145"/>
                  </a:lnTo>
                  <a:lnTo>
                    <a:pt x="3100722" y="831145"/>
                  </a:lnTo>
                  <a:cubicBezTo>
                    <a:pt x="3099947" y="824944"/>
                    <a:pt x="3099559" y="816223"/>
                    <a:pt x="3099559" y="804984"/>
                  </a:cubicBezTo>
                  <a:cubicBezTo>
                    <a:pt x="3099559" y="793744"/>
                    <a:pt x="3099559" y="779598"/>
                    <a:pt x="3099559" y="762544"/>
                  </a:cubicBezTo>
                  <a:lnTo>
                    <a:pt x="3099559" y="700920"/>
                  </a:lnTo>
                  <a:cubicBezTo>
                    <a:pt x="3099559" y="686192"/>
                    <a:pt x="3099559" y="673790"/>
                    <a:pt x="3099559" y="663713"/>
                  </a:cubicBezTo>
                  <a:cubicBezTo>
                    <a:pt x="3099559" y="653636"/>
                    <a:pt x="3099172" y="645885"/>
                    <a:pt x="3098397" y="640459"/>
                  </a:cubicBezTo>
                  <a:lnTo>
                    <a:pt x="3125139" y="640459"/>
                  </a:lnTo>
                  <a:lnTo>
                    <a:pt x="3121651" y="320711"/>
                  </a:lnTo>
                  <a:lnTo>
                    <a:pt x="3190251" y="319548"/>
                  </a:lnTo>
                  <a:cubicBezTo>
                    <a:pt x="3203429" y="319548"/>
                    <a:pt x="3250713" y="318385"/>
                    <a:pt x="3332103" y="316060"/>
                  </a:cubicBezTo>
                  <a:cubicBezTo>
                    <a:pt x="3349932" y="314510"/>
                    <a:pt x="3369698" y="313347"/>
                    <a:pt x="3391402" y="312572"/>
                  </a:cubicBezTo>
                  <a:cubicBezTo>
                    <a:pt x="3413106" y="311797"/>
                    <a:pt x="3436361" y="311409"/>
                    <a:pt x="3461165" y="311409"/>
                  </a:cubicBezTo>
                  <a:close/>
                  <a:moveTo>
                    <a:pt x="4740678" y="286992"/>
                  </a:moveTo>
                  <a:cubicBezTo>
                    <a:pt x="4746879" y="286992"/>
                    <a:pt x="4761607" y="287961"/>
                    <a:pt x="4784861" y="289899"/>
                  </a:cubicBezTo>
                  <a:cubicBezTo>
                    <a:pt x="4808116" y="291837"/>
                    <a:pt x="4839897" y="294743"/>
                    <a:pt x="4880204" y="298619"/>
                  </a:cubicBezTo>
                  <a:cubicBezTo>
                    <a:pt x="4924388" y="302495"/>
                    <a:pt x="4960432" y="305595"/>
                    <a:pt x="4988337" y="307921"/>
                  </a:cubicBezTo>
                  <a:cubicBezTo>
                    <a:pt x="5016242" y="310246"/>
                    <a:pt x="5036784" y="311409"/>
                    <a:pt x="5049961" y="311409"/>
                  </a:cubicBezTo>
                  <a:cubicBezTo>
                    <a:pt x="5098795" y="311409"/>
                    <a:pt x="5124375" y="312959"/>
                    <a:pt x="5126701" y="316060"/>
                  </a:cubicBezTo>
                  <a:cubicBezTo>
                    <a:pt x="5131352" y="323811"/>
                    <a:pt x="5150343" y="396675"/>
                    <a:pt x="5183674" y="534651"/>
                  </a:cubicBezTo>
                  <a:cubicBezTo>
                    <a:pt x="5196852" y="590462"/>
                    <a:pt x="5210029" y="647241"/>
                    <a:pt x="5223207" y="704990"/>
                  </a:cubicBezTo>
                  <a:cubicBezTo>
                    <a:pt x="5236384" y="762738"/>
                    <a:pt x="5249561" y="821843"/>
                    <a:pt x="5262739" y="882304"/>
                  </a:cubicBezTo>
                  <a:lnTo>
                    <a:pt x="5262739" y="848586"/>
                  </a:lnTo>
                  <a:cubicBezTo>
                    <a:pt x="5262739" y="723012"/>
                    <a:pt x="5260414" y="632320"/>
                    <a:pt x="5255763" y="576509"/>
                  </a:cubicBezTo>
                  <a:lnTo>
                    <a:pt x="5237159" y="324199"/>
                  </a:lnTo>
                  <a:cubicBezTo>
                    <a:pt x="5406141" y="324199"/>
                    <a:pt x="5492957" y="326524"/>
                    <a:pt x="5497608" y="331175"/>
                  </a:cubicBezTo>
                  <a:cubicBezTo>
                    <a:pt x="5499159" y="332726"/>
                    <a:pt x="5499934" y="359856"/>
                    <a:pt x="5499934" y="412566"/>
                  </a:cubicBezTo>
                  <a:cubicBezTo>
                    <a:pt x="5499934" y="444347"/>
                    <a:pt x="5499934" y="476321"/>
                    <a:pt x="5499934" y="508490"/>
                  </a:cubicBezTo>
                  <a:cubicBezTo>
                    <a:pt x="5499934" y="540659"/>
                    <a:pt x="5499546" y="574184"/>
                    <a:pt x="5498771" y="609065"/>
                  </a:cubicBezTo>
                  <a:cubicBezTo>
                    <a:pt x="5497996" y="643947"/>
                    <a:pt x="5497608" y="681348"/>
                    <a:pt x="5497608" y="721268"/>
                  </a:cubicBezTo>
                  <a:cubicBezTo>
                    <a:pt x="5497608" y="761188"/>
                    <a:pt x="5497608" y="804402"/>
                    <a:pt x="5497608" y="850911"/>
                  </a:cubicBezTo>
                  <a:cubicBezTo>
                    <a:pt x="5497608" y="919124"/>
                    <a:pt x="5498190" y="977648"/>
                    <a:pt x="5499352" y="1026482"/>
                  </a:cubicBezTo>
                  <a:cubicBezTo>
                    <a:pt x="5500515" y="1075316"/>
                    <a:pt x="5501871" y="1114848"/>
                    <a:pt x="5503422" y="1145079"/>
                  </a:cubicBezTo>
                  <a:lnTo>
                    <a:pt x="5444123" y="1149730"/>
                  </a:lnTo>
                  <a:lnTo>
                    <a:pt x="5253437" y="1145079"/>
                  </a:lnTo>
                  <a:lnTo>
                    <a:pt x="5129026" y="1135777"/>
                  </a:lnTo>
                  <a:cubicBezTo>
                    <a:pt x="5125150" y="1128801"/>
                    <a:pt x="5122825" y="1119499"/>
                    <a:pt x="5122050" y="1107872"/>
                  </a:cubicBezTo>
                  <a:lnTo>
                    <a:pt x="4987174" y="588136"/>
                  </a:lnTo>
                  <a:cubicBezTo>
                    <a:pt x="4987174" y="620693"/>
                    <a:pt x="4987174" y="656156"/>
                    <a:pt x="4987174" y="694525"/>
                  </a:cubicBezTo>
                  <a:cubicBezTo>
                    <a:pt x="4987174" y="732895"/>
                    <a:pt x="4986787" y="774947"/>
                    <a:pt x="4986012" y="820680"/>
                  </a:cubicBezTo>
                  <a:lnTo>
                    <a:pt x="4983686" y="1163683"/>
                  </a:lnTo>
                  <a:lnTo>
                    <a:pt x="4889506" y="1160195"/>
                  </a:lnTo>
                  <a:cubicBezTo>
                    <a:pt x="4864701" y="1158644"/>
                    <a:pt x="4842609" y="1157482"/>
                    <a:pt x="4823231" y="1156706"/>
                  </a:cubicBezTo>
                  <a:cubicBezTo>
                    <a:pt x="4803852" y="1155931"/>
                    <a:pt x="4787574" y="1155544"/>
                    <a:pt x="4774397" y="1155544"/>
                  </a:cubicBezTo>
                  <a:lnTo>
                    <a:pt x="4743003" y="1155544"/>
                  </a:lnTo>
                  <a:cubicBezTo>
                    <a:pt x="4730601" y="1155544"/>
                    <a:pt x="4724400" y="1154381"/>
                    <a:pt x="4724400" y="1152056"/>
                  </a:cubicBezTo>
                  <a:lnTo>
                    <a:pt x="4724400" y="1150893"/>
                  </a:lnTo>
                  <a:cubicBezTo>
                    <a:pt x="4724400" y="581935"/>
                    <a:pt x="4727501" y="294356"/>
                    <a:pt x="4733702" y="288155"/>
                  </a:cubicBezTo>
                  <a:cubicBezTo>
                    <a:pt x="4734477" y="287379"/>
                    <a:pt x="4736802" y="286992"/>
                    <a:pt x="4740678" y="286992"/>
                  </a:cubicBezTo>
                  <a:close/>
                  <a:moveTo>
                    <a:pt x="749926" y="281178"/>
                  </a:moveTo>
                  <a:cubicBezTo>
                    <a:pt x="763104" y="281178"/>
                    <a:pt x="784033" y="281953"/>
                    <a:pt x="812713" y="283504"/>
                  </a:cubicBezTo>
                  <a:cubicBezTo>
                    <a:pt x="841393" y="285054"/>
                    <a:pt x="878213" y="287379"/>
                    <a:pt x="923172" y="290480"/>
                  </a:cubicBezTo>
                  <a:lnTo>
                    <a:pt x="1006887" y="297456"/>
                  </a:lnTo>
                  <a:lnTo>
                    <a:pt x="1004562" y="617204"/>
                  </a:lnTo>
                  <a:lnTo>
                    <a:pt x="1079575" y="612554"/>
                  </a:lnTo>
                  <a:cubicBezTo>
                    <a:pt x="1083488" y="611778"/>
                    <a:pt x="1088959" y="611000"/>
                    <a:pt x="1095990" y="610219"/>
                  </a:cubicBezTo>
                  <a:cubicBezTo>
                    <a:pt x="1103021" y="609438"/>
                    <a:pt x="1110836" y="608272"/>
                    <a:pt x="1119435" y="606722"/>
                  </a:cubicBezTo>
                  <a:lnTo>
                    <a:pt x="1148739" y="602053"/>
                  </a:lnTo>
                  <a:lnTo>
                    <a:pt x="1148739" y="318385"/>
                  </a:lnTo>
                  <a:lnTo>
                    <a:pt x="1165017" y="318385"/>
                  </a:lnTo>
                  <a:cubicBezTo>
                    <a:pt x="1193698" y="318385"/>
                    <a:pt x="1235556" y="314897"/>
                    <a:pt x="1290591" y="307921"/>
                  </a:cubicBezTo>
                  <a:cubicBezTo>
                    <a:pt x="1344076" y="302495"/>
                    <a:pt x="1384384" y="299007"/>
                    <a:pt x="1411514" y="297456"/>
                  </a:cubicBezTo>
                  <a:lnTo>
                    <a:pt x="1408026" y="604414"/>
                  </a:lnTo>
                  <a:cubicBezTo>
                    <a:pt x="1408026" y="680379"/>
                    <a:pt x="1408026" y="739096"/>
                    <a:pt x="1408026" y="780567"/>
                  </a:cubicBezTo>
                  <a:cubicBezTo>
                    <a:pt x="1408026" y="822037"/>
                    <a:pt x="1408413" y="846648"/>
                    <a:pt x="1409188" y="854399"/>
                  </a:cubicBezTo>
                  <a:lnTo>
                    <a:pt x="1419653" y="1160195"/>
                  </a:lnTo>
                  <a:lnTo>
                    <a:pt x="1142962" y="1163683"/>
                  </a:lnTo>
                  <a:cubicBezTo>
                    <a:pt x="1138287" y="1159032"/>
                    <a:pt x="1135949" y="1145467"/>
                    <a:pt x="1135949" y="1122988"/>
                  </a:cubicBezTo>
                  <a:lnTo>
                    <a:pt x="1146414" y="799751"/>
                  </a:lnTo>
                  <a:lnTo>
                    <a:pt x="1006887" y="806728"/>
                  </a:lnTo>
                  <a:lnTo>
                    <a:pt x="1022003" y="1141591"/>
                  </a:lnTo>
                  <a:lnTo>
                    <a:pt x="745275" y="1145079"/>
                  </a:lnTo>
                  <a:cubicBezTo>
                    <a:pt x="740624" y="1140428"/>
                    <a:pt x="738299" y="1126088"/>
                    <a:pt x="738299" y="1102059"/>
                  </a:cubicBezTo>
                  <a:lnTo>
                    <a:pt x="747601" y="831145"/>
                  </a:lnTo>
                  <a:cubicBezTo>
                    <a:pt x="748376" y="777660"/>
                    <a:pt x="748957" y="729213"/>
                    <a:pt x="749345" y="685805"/>
                  </a:cubicBezTo>
                  <a:cubicBezTo>
                    <a:pt x="749732" y="642397"/>
                    <a:pt x="749926" y="603252"/>
                    <a:pt x="749926" y="568370"/>
                  </a:cubicBezTo>
                  <a:close/>
                  <a:moveTo>
                    <a:pt x="642984" y="280016"/>
                  </a:moveTo>
                  <a:lnTo>
                    <a:pt x="660425" y="281178"/>
                  </a:lnTo>
                  <a:cubicBezTo>
                    <a:pt x="659650" y="285054"/>
                    <a:pt x="659262" y="290868"/>
                    <a:pt x="659262" y="298619"/>
                  </a:cubicBezTo>
                  <a:cubicBezTo>
                    <a:pt x="659262" y="306371"/>
                    <a:pt x="659262" y="316447"/>
                    <a:pt x="659262" y="328850"/>
                  </a:cubicBezTo>
                  <a:lnTo>
                    <a:pt x="663913" y="516048"/>
                  </a:lnTo>
                  <a:cubicBezTo>
                    <a:pt x="663913" y="586586"/>
                    <a:pt x="644922" y="634645"/>
                    <a:pt x="606940" y="660225"/>
                  </a:cubicBezTo>
                  <a:cubicBezTo>
                    <a:pt x="601513" y="664101"/>
                    <a:pt x="595506" y="667395"/>
                    <a:pt x="588918" y="670108"/>
                  </a:cubicBezTo>
                  <a:cubicBezTo>
                    <a:pt x="582329" y="672821"/>
                    <a:pt x="575159" y="674953"/>
                    <a:pt x="567407" y="676503"/>
                  </a:cubicBezTo>
                  <a:cubicBezTo>
                    <a:pt x="555780" y="678829"/>
                    <a:pt x="549966" y="680379"/>
                    <a:pt x="549966" y="681154"/>
                  </a:cubicBezTo>
                  <a:cubicBezTo>
                    <a:pt x="579931" y="691231"/>
                    <a:pt x="608357" y="715648"/>
                    <a:pt x="635245" y="754405"/>
                  </a:cubicBezTo>
                  <a:cubicBezTo>
                    <a:pt x="665984" y="797814"/>
                    <a:pt x="681354" y="875328"/>
                    <a:pt x="681354" y="986949"/>
                  </a:cubicBezTo>
                  <a:lnTo>
                    <a:pt x="680191" y="1047411"/>
                  </a:lnTo>
                  <a:cubicBezTo>
                    <a:pt x="680191" y="1076866"/>
                    <a:pt x="681354" y="1104772"/>
                    <a:pt x="683679" y="1131127"/>
                  </a:cubicBezTo>
                  <a:cubicBezTo>
                    <a:pt x="684454" y="1144304"/>
                    <a:pt x="685036" y="1153800"/>
                    <a:pt x="685423" y="1159613"/>
                  </a:cubicBezTo>
                  <a:lnTo>
                    <a:pt x="685849" y="1165156"/>
                  </a:lnTo>
                  <a:lnTo>
                    <a:pt x="684842" y="1167171"/>
                  </a:lnTo>
                  <a:cubicBezTo>
                    <a:pt x="684067" y="1170271"/>
                    <a:pt x="665160" y="1171822"/>
                    <a:pt x="628123" y="1171822"/>
                  </a:cubicBezTo>
                  <a:cubicBezTo>
                    <a:pt x="606516" y="1171822"/>
                    <a:pt x="589151" y="1171822"/>
                    <a:pt x="576027" y="1171822"/>
                  </a:cubicBezTo>
                  <a:cubicBezTo>
                    <a:pt x="562905" y="1171822"/>
                    <a:pt x="553261" y="1172209"/>
                    <a:pt x="547096" y="1172984"/>
                  </a:cubicBezTo>
                  <a:cubicBezTo>
                    <a:pt x="534742" y="1172984"/>
                    <a:pt x="523935" y="1172984"/>
                    <a:pt x="514676" y="1172984"/>
                  </a:cubicBezTo>
                  <a:cubicBezTo>
                    <a:pt x="505417" y="1172984"/>
                    <a:pt x="497699" y="1173372"/>
                    <a:pt x="491522" y="1174147"/>
                  </a:cubicBezTo>
                  <a:cubicBezTo>
                    <a:pt x="487670" y="1174922"/>
                    <a:pt x="483234" y="1175310"/>
                    <a:pt x="478214" y="1175310"/>
                  </a:cubicBezTo>
                  <a:cubicBezTo>
                    <a:pt x="473193" y="1175310"/>
                    <a:pt x="466826" y="1175310"/>
                    <a:pt x="459111" y="1175310"/>
                  </a:cubicBezTo>
                  <a:lnTo>
                    <a:pt x="419742" y="1176473"/>
                  </a:lnTo>
                  <a:lnTo>
                    <a:pt x="423230" y="1048573"/>
                  </a:lnTo>
                  <a:cubicBezTo>
                    <a:pt x="423230" y="1003615"/>
                    <a:pt x="419742" y="959432"/>
                    <a:pt x="412766" y="916023"/>
                  </a:cubicBezTo>
                  <a:cubicBezTo>
                    <a:pt x="405789" y="874165"/>
                    <a:pt x="396487" y="846260"/>
                    <a:pt x="384860" y="832308"/>
                  </a:cubicBezTo>
                  <a:cubicBezTo>
                    <a:pt x="367807" y="810603"/>
                    <a:pt x="344940" y="799751"/>
                    <a:pt x="316260" y="799751"/>
                  </a:cubicBezTo>
                  <a:lnTo>
                    <a:pt x="297656" y="802077"/>
                  </a:lnTo>
                  <a:cubicBezTo>
                    <a:pt x="288354" y="805953"/>
                    <a:pt x="283704" y="821843"/>
                    <a:pt x="283704" y="849748"/>
                  </a:cubicBezTo>
                  <a:cubicBezTo>
                    <a:pt x="283704" y="891606"/>
                    <a:pt x="284866" y="940828"/>
                    <a:pt x="287192" y="997414"/>
                  </a:cubicBezTo>
                  <a:lnTo>
                    <a:pt x="293005" y="1145079"/>
                  </a:lnTo>
                  <a:lnTo>
                    <a:pt x="0" y="1156706"/>
                  </a:lnTo>
                  <a:lnTo>
                    <a:pt x="3488" y="293968"/>
                  </a:lnTo>
                  <a:cubicBezTo>
                    <a:pt x="3488" y="290093"/>
                    <a:pt x="59299" y="288155"/>
                    <a:pt x="170920" y="288155"/>
                  </a:cubicBezTo>
                  <a:lnTo>
                    <a:pt x="260449" y="290480"/>
                  </a:lnTo>
                  <a:lnTo>
                    <a:pt x="277890" y="605577"/>
                  </a:lnTo>
                  <a:cubicBezTo>
                    <a:pt x="283316" y="607903"/>
                    <a:pt x="289129" y="609065"/>
                    <a:pt x="295331" y="609065"/>
                  </a:cubicBezTo>
                  <a:cubicBezTo>
                    <a:pt x="365094" y="609065"/>
                    <a:pt x="399976" y="562944"/>
                    <a:pt x="399976" y="470702"/>
                  </a:cubicBezTo>
                  <a:lnTo>
                    <a:pt x="397650" y="288155"/>
                  </a:lnTo>
                  <a:lnTo>
                    <a:pt x="426718" y="288155"/>
                  </a:lnTo>
                  <a:cubicBezTo>
                    <a:pt x="440671" y="288155"/>
                    <a:pt x="456949" y="287767"/>
                    <a:pt x="475552" y="286992"/>
                  </a:cubicBezTo>
                  <a:cubicBezTo>
                    <a:pt x="494156" y="286217"/>
                    <a:pt x="515085" y="285054"/>
                    <a:pt x="538339" y="283504"/>
                  </a:cubicBezTo>
                  <a:cubicBezTo>
                    <a:pt x="590274" y="281178"/>
                    <a:pt x="625156" y="280016"/>
                    <a:pt x="642984" y="280016"/>
                  </a:cubicBezTo>
                  <a:close/>
                  <a:moveTo>
                    <a:pt x="4316406" y="270714"/>
                  </a:moveTo>
                  <a:cubicBezTo>
                    <a:pt x="4358264" y="270714"/>
                    <a:pt x="4398959" y="276527"/>
                    <a:pt x="4438492" y="288155"/>
                  </a:cubicBezTo>
                  <a:cubicBezTo>
                    <a:pt x="4511355" y="312184"/>
                    <a:pt x="4568329" y="362569"/>
                    <a:pt x="4609411" y="439308"/>
                  </a:cubicBezTo>
                  <a:cubicBezTo>
                    <a:pt x="4650494" y="517598"/>
                    <a:pt x="4671036" y="604414"/>
                    <a:pt x="4671036" y="699758"/>
                  </a:cubicBezTo>
                  <a:cubicBezTo>
                    <a:pt x="4671036" y="829207"/>
                    <a:pt x="4637317" y="938503"/>
                    <a:pt x="4569879" y="1027644"/>
                  </a:cubicBezTo>
                  <a:cubicBezTo>
                    <a:pt x="4491589" y="1129964"/>
                    <a:pt x="4385782" y="1181123"/>
                    <a:pt x="4252456" y="1181123"/>
                  </a:cubicBezTo>
                  <a:cubicBezTo>
                    <a:pt x="4136960" y="1181123"/>
                    <a:pt x="4046268" y="1147405"/>
                    <a:pt x="3980380" y="1079967"/>
                  </a:cubicBezTo>
                  <a:cubicBezTo>
                    <a:pt x="3913717" y="1011754"/>
                    <a:pt x="3878836" y="916411"/>
                    <a:pt x="3875735" y="793938"/>
                  </a:cubicBezTo>
                  <a:cubicBezTo>
                    <a:pt x="3874960" y="790062"/>
                    <a:pt x="3874572" y="778435"/>
                    <a:pt x="3874572" y="759056"/>
                  </a:cubicBezTo>
                  <a:cubicBezTo>
                    <a:pt x="3874572" y="609453"/>
                    <a:pt x="3909454" y="494344"/>
                    <a:pt x="3979217" y="413728"/>
                  </a:cubicBezTo>
                  <a:cubicBezTo>
                    <a:pt x="4009448" y="378072"/>
                    <a:pt x="4044717" y="349391"/>
                    <a:pt x="4085025" y="327687"/>
                  </a:cubicBezTo>
                  <a:cubicBezTo>
                    <a:pt x="4153238" y="289705"/>
                    <a:pt x="4230365" y="270714"/>
                    <a:pt x="4316406" y="270714"/>
                  </a:cubicBezTo>
                  <a:close/>
                  <a:moveTo>
                    <a:pt x="5986053" y="261412"/>
                  </a:moveTo>
                  <a:lnTo>
                    <a:pt x="5988378" y="261412"/>
                  </a:lnTo>
                  <a:cubicBezTo>
                    <a:pt x="5996905" y="261412"/>
                    <a:pt x="6007951" y="262187"/>
                    <a:pt x="6021516" y="263738"/>
                  </a:cubicBezTo>
                  <a:cubicBezTo>
                    <a:pt x="6035081" y="265288"/>
                    <a:pt x="6050778" y="267613"/>
                    <a:pt x="6068606" y="270714"/>
                  </a:cubicBezTo>
                  <a:cubicBezTo>
                    <a:pt x="6078683" y="272264"/>
                    <a:pt x="6089341" y="274783"/>
                    <a:pt x="6100581" y="278272"/>
                  </a:cubicBezTo>
                  <a:cubicBezTo>
                    <a:pt x="6111821" y="281760"/>
                    <a:pt x="6123642" y="286604"/>
                    <a:pt x="6136044" y="292806"/>
                  </a:cubicBezTo>
                  <a:cubicBezTo>
                    <a:pt x="6229061" y="337764"/>
                    <a:pt x="6281772" y="410240"/>
                    <a:pt x="6294174" y="510234"/>
                  </a:cubicBezTo>
                  <a:cubicBezTo>
                    <a:pt x="6297274" y="528838"/>
                    <a:pt x="6299406" y="544728"/>
                    <a:pt x="6300568" y="557906"/>
                  </a:cubicBezTo>
                  <a:cubicBezTo>
                    <a:pt x="6301731" y="571083"/>
                    <a:pt x="6302312" y="581935"/>
                    <a:pt x="6302312" y="590462"/>
                  </a:cubicBezTo>
                  <a:lnTo>
                    <a:pt x="6203482" y="599764"/>
                  </a:lnTo>
                  <a:lnTo>
                    <a:pt x="6050003" y="611391"/>
                  </a:lnTo>
                  <a:lnTo>
                    <a:pt x="6050003" y="592787"/>
                  </a:lnTo>
                  <a:cubicBezTo>
                    <a:pt x="6050003" y="573409"/>
                    <a:pt x="6041864" y="557131"/>
                    <a:pt x="6025585" y="543953"/>
                  </a:cubicBezTo>
                  <a:cubicBezTo>
                    <a:pt x="6008532" y="530776"/>
                    <a:pt x="5989154" y="524187"/>
                    <a:pt x="5967449" y="524187"/>
                  </a:cubicBezTo>
                  <a:cubicBezTo>
                    <a:pt x="5922491" y="524187"/>
                    <a:pt x="5886447" y="549379"/>
                    <a:pt x="5859317" y="599764"/>
                  </a:cubicBezTo>
                  <a:cubicBezTo>
                    <a:pt x="5835287" y="647823"/>
                    <a:pt x="5823272" y="701308"/>
                    <a:pt x="5823272" y="760219"/>
                  </a:cubicBezTo>
                  <a:cubicBezTo>
                    <a:pt x="5823272" y="840059"/>
                    <a:pt x="5842263" y="891606"/>
                    <a:pt x="5880245" y="914861"/>
                  </a:cubicBezTo>
                  <a:cubicBezTo>
                    <a:pt x="5897299" y="924938"/>
                    <a:pt x="5915515" y="929976"/>
                    <a:pt x="5934893" y="929976"/>
                  </a:cubicBezTo>
                  <a:cubicBezTo>
                    <a:pt x="5958148" y="929976"/>
                    <a:pt x="5978689" y="923000"/>
                    <a:pt x="5996517" y="909047"/>
                  </a:cubicBezTo>
                  <a:cubicBezTo>
                    <a:pt x="6013571" y="894319"/>
                    <a:pt x="6022097" y="876491"/>
                    <a:pt x="6022097" y="855562"/>
                  </a:cubicBezTo>
                  <a:lnTo>
                    <a:pt x="5939544" y="852074"/>
                  </a:lnTo>
                  <a:lnTo>
                    <a:pt x="5939544" y="790450"/>
                  </a:lnTo>
                  <a:cubicBezTo>
                    <a:pt x="5939544" y="749367"/>
                    <a:pt x="5942257" y="727275"/>
                    <a:pt x="5947683" y="724175"/>
                  </a:cubicBezTo>
                  <a:cubicBezTo>
                    <a:pt x="5952334" y="721074"/>
                    <a:pt x="6008920" y="718749"/>
                    <a:pt x="6117440" y="717198"/>
                  </a:cubicBezTo>
                  <a:lnTo>
                    <a:pt x="6281384" y="716036"/>
                  </a:lnTo>
                  <a:lnTo>
                    <a:pt x="6284872" y="748592"/>
                  </a:lnTo>
                  <a:lnTo>
                    <a:pt x="6284872" y="764870"/>
                  </a:lnTo>
                  <a:cubicBezTo>
                    <a:pt x="6284872" y="792775"/>
                    <a:pt x="6281384" y="826882"/>
                    <a:pt x="6274407" y="867189"/>
                  </a:cubicBezTo>
                  <a:cubicBezTo>
                    <a:pt x="6267431" y="909047"/>
                    <a:pt x="6259292" y="943541"/>
                    <a:pt x="6249990" y="970671"/>
                  </a:cubicBezTo>
                  <a:cubicBezTo>
                    <a:pt x="6228286" y="1032683"/>
                    <a:pt x="6187591" y="1080742"/>
                    <a:pt x="6127905" y="1114848"/>
                  </a:cubicBezTo>
                  <a:cubicBezTo>
                    <a:pt x="6068219" y="1149730"/>
                    <a:pt x="6001944" y="1167171"/>
                    <a:pt x="5929080" y="1167171"/>
                  </a:cubicBezTo>
                  <a:cubicBezTo>
                    <a:pt x="5840713" y="1167171"/>
                    <a:pt x="5762424" y="1141591"/>
                    <a:pt x="5694210" y="1090431"/>
                  </a:cubicBezTo>
                  <a:cubicBezTo>
                    <a:pt x="5624447" y="1038497"/>
                    <a:pt x="5582202" y="964470"/>
                    <a:pt x="5567474" y="868352"/>
                  </a:cubicBezTo>
                  <a:cubicBezTo>
                    <a:pt x="5565924" y="852074"/>
                    <a:pt x="5564567" y="836958"/>
                    <a:pt x="5563404" y="823006"/>
                  </a:cubicBezTo>
                  <a:cubicBezTo>
                    <a:pt x="5562242" y="809053"/>
                    <a:pt x="5561660" y="796651"/>
                    <a:pt x="5561660" y="785799"/>
                  </a:cubicBezTo>
                  <a:cubicBezTo>
                    <a:pt x="5561660" y="664876"/>
                    <a:pt x="5582589" y="562944"/>
                    <a:pt x="5624447" y="480003"/>
                  </a:cubicBezTo>
                  <a:cubicBezTo>
                    <a:pt x="5663980" y="402489"/>
                    <a:pt x="5718627" y="345515"/>
                    <a:pt x="5788391" y="309084"/>
                  </a:cubicBezTo>
                  <a:cubicBezTo>
                    <a:pt x="5800793" y="302882"/>
                    <a:pt x="5814358" y="297069"/>
                    <a:pt x="5829086" y="291643"/>
                  </a:cubicBezTo>
                  <a:cubicBezTo>
                    <a:pt x="5843814" y="286217"/>
                    <a:pt x="5859704" y="281178"/>
                    <a:pt x="5876757" y="276527"/>
                  </a:cubicBezTo>
                  <a:cubicBezTo>
                    <a:pt x="5917840" y="266451"/>
                    <a:pt x="5954272" y="261412"/>
                    <a:pt x="5986053" y="261412"/>
                  </a:cubicBezTo>
                  <a:close/>
                  <a:moveTo>
                    <a:pt x="2195159" y="191649"/>
                  </a:moveTo>
                  <a:lnTo>
                    <a:pt x="2219576" y="205602"/>
                  </a:lnTo>
                  <a:cubicBezTo>
                    <a:pt x="2300191" y="253661"/>
                    <a:pt x="2322670" y="312184"/>
                    <a:pt x="2287014" y="381172"/>
                  </a:cubicBezTo>
                  <a:lnTo>
                    <a:pt x="2284688" y="385823"/>
                  </a:lnTo>
                  <a:cubicBezTo>
                    <a:pt x="2268410" y="416054"/>
                    <a:pt x="2244381" y="436595"/>
                    <a:pt x="2212600" y="447447"/>
                  </a:cubicBezTo>
                  <a:cubicBezTo>
                    <a:pt x="2251357" y="523412"/>
                    <a:pt x="2270736" y="607515"/>
                    <a:pt x="2270736" y="699758"/>
                  </a:cubicBezTo>
                  <a:cubicBezTo>
                    <a:pt x="2270736" y="829207"/>
                    <a:pt x="2237017" y="938503"/>
                    <a:pt x="2169579" y="1027644"/>
                  </a:cubicBezTo>
                  <a:cubicBezTo>
                    <a:pt x="2091289" y="1129964"/>
                    <a:pt x="1985482" y="1181123"/>
                    <a:pt x="1852157" y="1181123"/>
                  </a:cubicBezTo>
                  <a:cubicBezTo>
                    <a:pt x="1736660" y="1181123"/>
                    <a:pt x="1645968" y="1147405"/>
                    <a:pt x="1580080" y="1079967"/>
                  </a:cubicBezTo>
                  <a:cubicBezTo>
                    <a:pt x="1513418" y="1011754"/>
                    <a:pt x="1478536" y="916411"/>
                    <a:pt x="1475436" y="793938"/>
                  </a:cubicBezTo>
                  <a:cubicBezTo>
                    <a:pt x="1474660" y="790062"/>
                    <a:pt x="1474273" y="778435"/>
                    <a:pt x="1474273" y="759056"/>
                  </a:cubicBezTo>
                  <a:cubicBezTo>
                    <a:pt x="1474273" y="609453"/>
                    <a:pt x="1509154" y="494344"/>
                    <a:pt x="1578918" y="413728"/>
                  </a:cubicBezTo>
                  <a:cubicBezTo>
                    <a:pt x="1609148" y="378072"/>
                    <a:pt x="1644417" y="349391"/>
                    <a:pt x="1684725" y="327687"/>
                  </a:cubicBezTo>
                  <a:cubicBezTo>
                    <a:pt x="1752938" y="289705"/>
                    <a:pt x="1830065" y="270714"/>
                    <a:pt x="1916106" y="270714"/>
                  </a:cubicBezTo>
                  <a:cubicBezTo>
                    <a:pt x="1957964" y="270714"/>
                    <a:pt x="1998659" y="276527"/>
                    <a:pt x="2038192" y="288155"/>
                  </a:cubicBezTo>
                  <a:cubicBezTo>
                    <a:pt x="2090902" y="305983"/>
                    <a:pt x="2134310" y="335826"/>
                    <a:pt x="2168416" y="377684"/>
                  </a:cubicBezTo>
                  <a:cubicBezTo>
                    <a:pt x="2185470" y="380785"/>
                    <a:pt x="2199034" y="374583"/>
                    <a:pt x="2209112" y="359081"/>
                  </a:cubicBezTo>
                  <a:lnTo>
                    <a:pt x="2210274" y="357918"/>
                  </a:lnTo>
                  <a:cubicBezTo>
                    <a:pt x="2218026" y="340865"/>
                    <a:pt x="2215700" y="324587"/>
                    <a:pt x="2203298" y="309084"/>
                  </a:cubicBezTo>
                  <a:cubicBezTo>
                    <a:pt x="2192446" y="297456"/>
                    <a:pt x="2175393" y="285442"/>
                    <a:pt x="2152138" y="273039"/>
                  </a:cubicBezTo>
                  <a:close/>
                  <a:moveTo>
                    <a:pt x="4176880" y="73051"/>
                  </a:moveTo>
                  <a:lnTo>
                    <a:pt x="4286175" y="76540"/>
                  </a:lnTo>
                  <a:lnTo>
                    <a:pt x="4401285" y="73051"/>
                  </a:lnTo>
                  <a:cubicBezTo>
                    <a:pt x="4404385" y="79277"/>
                    <a:pt x="4409424" y="89027"/>
                    <a:pt x="4416400" y="102301"/>
                  </a:cubicBezTo>
                  <a:cubicBezTo>
                    <a:pt x="4423376" y="115576"/>
                    <a:pt x="4433066" y="132356"/>
                    <a:pt x="4445468" y="152643"/>
                  </a:cubicBezTo>
                  <a:cubicBezTo>
                    <a:pt x="4466397" y="188554"/>
                    <a:pt x="4480737" y="215097"/>
                    <a:pt x="4488489" y="232271"/>
                  </a:cubicBezTo>
                  <a:lnTo>
                    <a:pt x="4486163" y="232271"/>
                  </a:lnTo>
                  <a:cubicBezTo>
                    <a:pt x="4479187" y="232271"/>
                    <a:pt x="4461359" y="234609"/>
                    <a:pt x="4432678" y="239284"/>
                  </a:cubicBezTo>
                  <a:cubicBezTo>
                    <a:pt x="4419501" y="240834"/>
                    <a:pt x="4405161" y="242391"/>
                    <a:pt x="4389657" y="243953"/>
                  </a:cubicBezTo>
                  <a:cubicBezTo>
                    <a:pt x="4374155" y="245516"/>
                    <a:pt x="4357876" y="246684"/>
                    <a:pt x="4340823" y="247459"/>
                  </a:cubicBezTo>
                  <a:cubicBezTo>
                    <a:pt x="4332297" y="234972"/>
                    <a:pt x="4323576" y="221316"/>
                    <a:pt x="4314662" y="206492"/>
                  </a:cubicBezTo>
                  <a:cubicBezTo>
                    <a:pt x="4305748" y="191667"/>
                    <a:pt x="4296640" y="175280"/>
                    <a:pt x="4287338" y="157330"/>
                  </a:cubicBezTo>
                  <a:lnTo>
                    <a:pt x="4226877" y="247459"/>
                  </a:lnTo>
                  <a:cubicBezTo>
                    <a:pt x="4214474" y="246684"/>
                    <a:pt x="4200522" y="246103"/>
                    <a:pt x="4185019" y="245715"/>
                  </a:cubicBezTo>
                  <a:cubicBezTo>
                    <a:pt x="4169516" y="245328"/>
                    <a:pt x="4152850" y="244746"/>
                    <a:pt x="4135022" y="243971"/>
                  </a:cubicBezTo>
                  <a:lnTo>
                    <a:pt x="4057120" y="241628"/>
                  </a:lnTo>
                  <a:cubicBezTo>
                    <a:pt x="4065646" y="228353"/>
                    <a:pt x="4075336" y="214107"/>
                    <a:pt x="4086188" y="198889"/>
                  </a:cubicBezTo>
                  <a:cubicBezTo>
                    <a:pt x="4097040" y="183670"/>
                    <a:pt x="4108667" y="168255"/>
                    <a:pt x="4121069" y="152643"/>
                  </a:cubicBezTo>
                  <a:cubicBezTo>
                    <a:pt x="4148974" y="115182"/>
                    <a:pt x="4167578" y="88651"/>
                    <a:pt x="4176880" y="73051"/>
                  </a:cubicBezTo>
                  <a:close/>
                  <a:moveTo>
                    <a:pt x="1966975" y="91"/>
                  </a:moveTo>
                  <a:cubicBezTo>
                    <a:pt x="1981897" y="-491"/>
                    <a:pt x="1995946" y="1738"/>
                    <a:pt x="2009124" y="6776"/>
                  </a:cubicBezTo>
                  <a:cubicBezTo>
                    <a:pt x="2033929" y="17628"/>
                    <a:pt x="2050982" y="35069"/>
                    <a:pt x="2060283" y="59099"/>
                  </a:cubicBezTo>
                  <a:cubicBezTo>
                    <a:pt x="2071911" y="87779"/>
                    <a:pt x="2069973" y="116847"/>
                    <a:pt x="2054470" y="146303"/>
                  </a:cubicBezTo>
                  <a:cubicBezTo>
                    <a:pt x="2037417" y="178859"/>
                    <a:pt x="2006798" y="204051"/>
                    <a:pt x="1962615" y="221880"/>
                  </a:cubicBezTo>
                  <a:lnTo>
                    <a:pt x="1921920" y="233507"/>
                  </a:lnTo>
                  <a:lnTo>
                    <a:pt x="1909130" y="203276"/>
                  </a:lnTo>
                  <a:cubicBezTo>
                    <a:pt x="1913781" y="202501"/>
                    <a:pt x="1921532" y="198044"/>
                    <a:pt x="1932384" y="189905"/>
                  </a:cubicBezTo>
                  <a:cubicBezTo>
                    <a:pt x="1943237" y="181766"/>
                    <a:pt x="1953701" y="171495"/>
                    <a:pt x="1963778" y="159093"/>
                  </a:cubicBezTo>
                  <a:cubicBezTo>
                    <a:pt x="1977730" y="141264"/>
                    <a:pt x="1980443" y="122273"/>
                    <a:pt x="1971917" y="102119"/>
                  </a:cubicBezTo>
                  <a:cubicBezTo>
                    <a:pt x="1964165" y="88167"/>
                    <a:pt x="1952732" y="80803"/>
                    <a:pt x="1937617" y="80028"/>
                  </a:cubicBezTo>
                  <a:cubicBezTo>
                    <a:pt x="1922501" y="79253"/>
                    <a:pt x="1909518" y="86229"/>
                    <a:pt x="1898666" y="100957"/>
                  </a:cubicBezTo>
                  <a:lnTo>
                    <a:pt x="1838204" y="64912"/>
                  </a:lnTo>
                  <a:cubicBezTo>
                    <a:pt x="1869985" y="37007"/>
                    <a:pt x="1897115" y="18791"/>
                    <a:pt x="1919594" y="10265"/>
                  </a:cubicBezTo>
                  <a:cubicBezTo>
                    <a:pt x="1936260" y="4063"/>
                    <a:pt x="1952053" y="672"/>
                    <a:pt x="1966975" y="91"/>
                  </a:cubicBezTo>
                  <a:close/>
                </a:path>
              </a:pathLst>
            </a:custGeom>
            <a:solidFill>
              <a:schemeClr val="bg1"/>
            </a:solidFill>
            <a:ln w="254000">
              <a:solidFill>
                <a:schemeClr val="accent6">
                  <a:lumMod val="75000"/>
                </a:schemeClr>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9400" b="0" i="0" u="none" strike="noStrike" kern="1200" cap="none" spc="300" normalizeH="0" baseline="0" noProof="0">
                <a:ln w="254000">
                  <a:solidFill>
                    <a:srgbClr val="ED5565">
                      <a:lumMod val="75000"/>
                    </a:srgbClr>
                  </a:solidFill>
                </a:ln>
                <a:solidFill>
                  <a:prstClr val="white"/>
                </a:solidFill>
                <a:effectLst/>
                <a:uLnTx/>
                <a:uFillTx/>
                <a:latin typeface="#9Slide07 Crocante" panose="02000000000000000000" pitchFamily="2" charset="0"/>
                <a:ea typeface="+mn-ea"/>
                <a:cs typeface="+mn-cs"/>
              </a:endParaRPr>
            </a:p>
          </p:txBody>
        </p:sp>
        <p:sp>
          <p:nvSpPr>
            <p:cNvPr id="10" name="TextBox 9">
              <a:extLst>
                <a:ext uri="{FF2B5EF4-FFF2-40B4-BE49-F238E27FC236}">
                  <a16:creationId xmlns:a16="http://schemas.microsoft.com/office/drawing/2014/main" id="{77FB755D-B4B6-2682-721B-A4E07A070937}"/>
                </a:ext>
              </a:extLst>
            </p:cNvPr>
            <p:cNvSpPr txBox="1">
              <a:spLocks noChangeAspect="1"/>
            </p:cNvSpPr>
            <p:nvPr/>
          </p:nvSpPr>
          <p:spPr>
            <a:xfrm>
              <a:off x="2245128" y="1721946"/>
              <a:ext cx="6302312" cy="1417156"/>
            </a:xfrm>
            <a:custGeom>
              <a:avLst/>
              <a:gdLst/>
              <a:ahLst/>
              <a:cxnLst/>
              <a:rect l="l" t="t" r="r" b="b"/>
              <a:pathLst>
                <a:path w="6302312" h="1417156">
                  <a:moveTo>
                    <a:pt x="4280362" y="1229958"/>
                  </a:moveTo>
                  <a:cubicBezTo>
                    <a:pt x="4339273" y="1229958"/>
                    <a:pt x="4368728" y="1262126"/>
                    <a:pt x="4368728" y="1326463"/>
                  </a:cubicBezTo>
                  <a:cubicBezTo>
                    <a:pt x="4368728" y="1386925"/>
                    <a:pt x="4338885" y="1417156"/>
                    <a:pt x="4279199" y="1417156"/>
                  </a:cubicBezTo>
                  <a:cubicBezTo>
                    <a:pt x="4252844" y="1417156"/>
                    <a:pt x="4230753" y="1409404"/>
                    <a:pt x="4212924" y="1393901"/>
                  </a:cubicBezTo>
                  <a:cubicBezTo>
                    <a:pt x="4194320" y="1377623"/>
                    <a:pt x="4185019" y="1354756"/>
                    <a:pt x="4185019" y="1325301"/>
                  </a:cubicBezTo>
                  <a:cubicBezTo>
                    <a:pt x="4185019" y="1261739"/>
                    <a:pt x="4216800" y="1229958"/>
                    <a:pt x="4280362" y="1229958"/>
                  </a:cubicBezTo>
                  <a:close/>
                  <a:moveTo>
                    <a:pt x="686004" y="1164845"/>
                  </a:moveTo>
                  <a:cubicBezTo>
                    <a:pt x="686004" y="1166008"/>
                    <a:pt x="685956" y="1166153"/>
                    <a:pt x="685859" y="1165281"/>
                  </a:cubicBezTo>
                  <a:lnTo>
                    <a:pt x="685849" y="1165156"/>
                  </a:lnTo>
                  <a:close/>
                  <a:moveTo>
                    <a:pt x="3443724" y="554418"/>
                  </a:moveTo>
                  <a:lnTo>
                    <a:pt x="3403029" y="556743"/>
                  </a:lnTo>
                  <a:lnTo>
                    <a:pt x="3403029" y="638133"/>
                  </a:lnTo>
                  <a:lnTo>
                    <a:pt x="3499535" y="635808"/>
                  </a:lnTo>
                  <a:lnTo>
                    <a:pt x="3487908" y="831145"/>
                  </a:lnTo>
                  <a:cubicBezTo>
                    <a:pt x="3468529" y="830370"/>
                    <a:pt x="3452251" y="829788"/>
                    <a:pt x="3439073" y="829401"/>
                  </a:cubicBezTo>
                  <a:cubicBezTo>
                    <a:pt x="3425896" y="829013"/>
                    <a:pt x="3415432" y="828819"/>
                    <a:pt x="3407680" y="828819"/>
                  </a:cubicBezTo>
                  <a:lnTo>
                    <a:pt x="3410005" y="889281"/>
                  </a:lnTo>
                  <a:lnTo>
                    <a:pt x="3434423" y="889281"/>
                  </a:lnTo>
                  <a:cubicBezTo>
                    <a:pt x="3460778" y="889281"/>
                    <a:pt x="3479381" y="886955"/>
                    <a:pt x="3490233" y="882304"/>
                  </a:cubicBezTo>
                  <a:cubicBezTo>
                    <a:pt x="3500310" y="878429"/>
                    <a:pt x="3512713" y="866802"/>
                    <a:pt x="3527440" y="847423"/>
                  </a:cubicBezTo>
                  <a:cubicBezTo>
                    <a:pt x="3548369" y="818743"/>
                    <a:pt x="3558834" y="775334"/>
                    <a:pt x="3558834" y="717198"/>
                  </a:cubicBezTo>
                  <a:cubicBezTo>
                    <a:pt x="3558834" y="651311"/>
                    <a:pt x="3546819" y="605190"/>
                    <a:pt x="3522789" y="578835"/>
                  </a:cubicBezTo>
                  <a:cubicBezTo>
                    <a:pt x="3507286" y="562557"/>
                    <a:pt x="3480931" y="554418"/>
                    <a:pt x="3443724" y="554418"/>
                  </a:cubicBezTo>
                  <a:close/>
                  <a:moveTo>
                    <a:pt x="4287338" y="531163"/>
                  </a:moveTo>
                  <a:cubicBezTo>
                    <a:pt x="4265634" y="531163"/>
                    <a:pt x="4241217" y="541240"/>
                    <a:pt x="4214087" y="561394"/>
                  </a:cubicBezTo>
                  <a:cubicBezTo>
                    <a:pt x="4184631" y="586199"/>
                    <a:pt x="4169903" y="638909"/>
                    <a:pt x="4169903" y="719524"/>
                  </a:cubicBezTo>
                  <a:cubicBezTo>
                    <a:pt x="4169903" y="778435"/>
                    <a:pt x="4176880" y="823393"/>
                    <a:pt x="4190832" y="854399"/>
                  </a:cubicBezTo>
                  <a:cubicBezTo>
                    <a:pt x="4207886" y="897807"/>
                    <a:pt x="4239279" y="918736"/>
                    <a:pt x="4285013" y="917186"/>
                  </a:cubicBezTo>
                  <a:cubicBezTo>
                    <a:pt x="4330746" y="917186"/>
                    <a:pt x="4360589" y="896645"/>
                    <a:pt x="4374542" y="855562"/>
                  </a:cubicBezTo>
                  <a:cubicBezTo>
                    <a:pt x="4388495" y="812929"/>
                    <a:pt x="4395471" y="769521"/>
                    <a:pt x="4395471" y="725337"/>
                  </a:cubicBezTo>
                  <a:cubicBezTo>
                    <a:pt x="4395471" y="671077"/>
                    <a:pt x="4385782" y="624956"/>
                    <a:pt x="4366403" y="586974"/>
                  </a:cubicBezTo>
                  <a:cubicBezTo>
                    <a:pt x="4346249" y="549767"/>
                    <a:pt x="4319894" y="531163"/>
                    <a:pt x="4287338" y="531163"/>
                  </a:cubicBezTo>
                  <a:close/>
                  <a:moveTo>
                    <a:pt x="1887038" y="531163"/>
                  </a:moveTo>
                  <a:cubicBezTo>
                    <a:pt x="1865334" y="531163"/>
                    <a:pt x="1840917" y="541240"/>
                    <a:pt x="1813787" y="561394"/>
                  </a:cubicBezTo>
                  <a:cubicBezTo>
                    <a:pt x="1784331" y="586199"/>
                    <a:pt x="1769603" y="638909"/>
                    <a:pt x="1769603" y="719524"/>
                  </a:cubicBezTo>
                  <a:cubicBezTo>
                    <a:pt x="1769603" y="778435"/>
                    <a:pt x="1776580" y="823393"/>
                    <a:pt x="1790533" y="854399"/>
                  </a:cubicBezTo>
                  <a:cubicBezTo>
                    <a:pt x="1807586" y="897807"/>
                    <a:pt x="1838979" y="918736"/>
                    <a:pt x="1884713" y="917186"/>
                  </a:cubicBezTo>
                  <a:cubicBezTo>
                    <a:pt x="1930446" y="917186"/>
                    <a:pt x="1960290" y="896645"/>
                    <a:pt x="1974242" y="855562"/>
                  </a:cubicBezTo>
                  <a:cubicBezTo>
                    <a:pt x="1988195" y="812929"/>
                    <a:pt x="1995171" y="769521"/>
                    <a:pt x="1995171" y="725337"/>
                  </a:cubicBezTo>
                  <a:cubicBezTo>
                    <a:pt x="1995171" y="671077"/>
                    <a:pt x="1985482" y="624956"/>
                    <a:pt x="1966103" y="586974"/>
                  </a:cubicBezTo>
                  <a:cubicBezTo>
                    <a:pt x="1945949" y="549767"/>
                    <a:pt x="1919594" y="531163"/>
                    <a:pt x="1887038" y="531163"/>
                  </a:cubicBezTo>
                  <a:close/>
                  <a:moveTo>
                    <a:pt x="2619430" y="330013"/>
                  </a:moveTo>
                  <a:lnTo>
                    <a:pt x="2619430" y="576509"/>
                  </a:lnTo>
                  <a:cubicBezTo>
                    <a:pt x="2619430" y="667976"/>
                    <a:pt x="2620206" y="750917"/>
                    <a:pt x="2621756" y="825331"/>
                  </a:cubicBezTo>
                  <a:cubicBezTo>
                    <a:pt x="2623306" y="899745"/>
                    <a:pt x="2625632" y="966408"/>
                    <a:pt x="2628732" y="1025319"/>
                  </a:cubicBezTo>
                  <a:lnTo>
                    <a:pt x="2631058" y="1110198"/>
                  </a:lnTo>
                  <a:cubicBezTo>
                    <a:pt x="2631058" y="1133452"/>
                    <a:pt x="2628732" y="1147792"/>
                    <a:pt x="2624081" y="1153218"/>
                  </a:cubicBezTo>
                  <a:lnTo>
                    <a:pt x="2333402" y="1141591"/>
                  </a:lnTo>
                  <a:lnTo>
                    <a:pt x="2335727" y="596275"/>
                  </a:lnTo>
                  <a:cubicBezTo>
                    <a:pt x="2336502" y="559068"/>
                    <a:pt x="2336890" y="519148"/>
                    <a:pt x="2336890" y="476515"/>
                  </a:cubicBezTo>
                  <a:cubicBezTo>
                    <a:pt x="2336890" y="433882"/>
                    <a:pt x="2336890" y="387761"/>
                    <a:pt x="2336890" y="338152"/>
                  </a:cubicBezTo>
                  <a:lnTo>
                    <a:pt x="2404327" y="338152"/>
                  </a:lnTo>
                  <a:cubicBezTo>
                    <a:pt x="2426807" y="338152"/>
                    <a:pt x="2449867" y="337764"/>
                    <a:pt x="2473509" y="336989"/>
                  </a:cubicBezTo>
                  <a:cubicBezTo>
                    <a:pt x="2497151" y="336214"/>
                    <a:pt x="2521374" y="335051"/>
                    <a:pt x="2546179" y="333501"/>
                  </a:cubicBezTo>
                  <a:close/>
                  <a:moveTo>
                    <a:pt x="3461165" y="311409"/>
                  </a:moveTo>
                  <a:cubicBezTo>
                    <a:pt x="3576662" y="311409"/>
                    <a:pt x="3664254" y="335051"/>
                    <a:pt x="3723940" y="382335"/>
                  </a:cubicBezTo>
                  <a:cubicBezTo>
                    <a:pt x="3791378" y="435820"/>
                    <a:pt x="3825096" y="542403"/>
                    <a:pt x="3825096" y="702083"/>
                  </a:cubicBezTo>
                  <a:cubicBezTo>
                    <a:pt x="3825096" y="854787"/>
                    <a:pt x="3797191" y="965245"/>
                    <a:pt x="3741381" y="1033458"/>
                  </a:cubicBezTo>
                  <a:cubicBezTo>
                    <a:pt x="3681694" y="1107872"/>
                    <a:pt x="3566585" y="1145079"/>
                    <a:pt x="3396053" y="1145079"/>
                  </a:cubicBezTo>
                  <a:lnTo>
                    <a:pt x="3335591" y="1145079"/>
                  </a:lnTo>
                  <a:cubicBezTo>
                    <a:pt x="3241024" y="1145079"/>
                    <a:pt x="3164284" y="1143916"/>
                    <a:pt x="3105373" y="1141591"/>
                  </a:cubicBezTo>
                  <a:lnTo>
                    <a:pt x="3120488" y="856725"/>
                  </a:lnTo>
                  <a:lnTo>
                    <a:pt x="3120488" y="831145"/>
                  </a:lnTo>
                  <a:lnTo>
                    <a:pt x="3100722" y="831145"/>
                  </a:lnTo>
                  <a:cubicBezTo>
                    <a:pt x="3099947" y="824944"/>
                    <a:pt x="3099559" y="816223"/>
                    <a:pt x="3099559" y="804984"/>
                  </a:cubicBezTo>
                  <a:cubicBezTo>
                    <a:pt x="3099559" y="793744"/>
                    <a:pt x="3099559" y="779598"/>
                    <a:pt x="3099559" y="762544"/>
                  </a:cubicBezTo>
                  <a:lnTo>
                    <a:pt x="3099559" y="700920"/>
                  </a:lnTo>
                  <a:cubicBezTo>
                    <a:pt x="3099559" y="686192"/>
                    <a:pt x="3099559" y="673790"/>
                    <a:pt x="3099559" y="663713"/>
                  </a:cubicBezTo>
                  <a:cubicBezTo>
                    <a:pt x="3099559" y="653636"/>
                    <a:pt x="3099172" y="645885"/>
                    <a:pt x="3098397" y="640459"/>
                  </a:cubicBezTo>
                  <a:lnTo>
                    <a:pt x="3125139" y="640459"/>
                  </a:lnTo>
                  <a:lnTo>
                    <a:pt x="3121651" y="320711"/>
                  </a:lnTo>
                  <a:lnTo>
                    <a:pt x="3190251" y="319548"/>
                  </a:lnTo>
                  <a:cubicBezTo>
                    <a:pt x="3203429" y="319548"/>
                    <a:pt x="3250713" y="318385"/>
                    <a:pt x="3332103" y="316060"/>
                  </a:cubicBezTo>
                  <a:cubicBezTo>
                    <a:pt x="3349932" y="314510"/>
                    <a:pt x="3369698" y="313347"/>
                    <a:pt x="3391402" y="312572"/>
                  </a:cubicBezTo>
                  <a:cubicBezTo>
                    <a:pt x="3413106" y="311797"/>
                    <a:pt x="3436361" y="311409"/>
                    <a:pt x="3461165" y="311409"/>
                  </a:cubicBezTo>
                  <a:close/>
                  <a:moveTo>
                    <a:pt x="4740678" y="286992"/>
                  </a:moveTo>
                  <a:cubicBezTo>
                    <a:pt x="4746879" y="286992"/>
                    <a:pt x="4761607" y="287961"/>
                    <a:pt x="4784861" y="289899"/>
                  </a:cubicBezTo>
                  <a:cubicBezTo>
                    <a:pt x="4808116" y="291837"/>
                    <a:pt x="4839897" y="294743"/>
                    <a:pt x="4880204" y="298619"/>
                  </a:cubicBezTo>
                  <a:cubicBezTo>
                    <a:pt x="4924388" y="302495"/>
                    <a:pt x="4960432" y="305595"/>
                    <a:pt x="4988337" y="307921"/>
                  </a:cubicBezTo>
                  <a:cubicBezTo>
                    <a:pt x="5016242" y="310246"/>
                    <a:pt x="5036784" y="311409"/>
                    <a:pt x="5049961" y="311409"/>
                  </a:cubicBezTo>
                  <a:cubicBezTo>
                    <a:pt x="5098795" y="311409"/>
                    <a:pt x="5124375" y="312959"/>
                    <a:pt x="5126701" y="316060"/>
                  </a:cubicBezTo>
                  <a:cubicBezTo>
                    <a:pt x="5131352" y="323811"/>
                    <a:pt x="5150343" y="396675"/>
                    <a:pt x="5183674" y="534651"/>
                  </a:cubicBezTo>
                  <a:cubicBezTo>
                    <a:pt x="5196852" y="590462"/>
                    <a:pt x="5210029" y="647241"/>
                    <a:pt x="5223207" y="704990"/>
                  </a:cubicBezTo>
                  <a:cubicBezTo>
                    <a:pt x="5236384" y="762738"/>
                    <a:pt x="5249561" y="821843"/>
                    <a:pt x="5262739" y="882304"/>
                  </a:cubicBezTo>
                  <a:lnTo>
                    <a:pt x="5262739" y="848586"/>
                  </a:lnTo>
                  <a:cubicBezTo>
                    <a:pt x="5262739" y="723012"/>
                    <a:pt x="5260414" y="632320"/>
                    <a:pt x="5255763" y="576509"/>
                  </a:cubicBezTo>
                  <a:lnTo>
                    <a:pt x="5237159" y="324199"/>
                  </a:lnTo>
                  <a:cubicBezTo>
                    <a:pt x="5406141" y="324199"/>
                    <a:pt x="5492957" y="326524"/>
                    <a:pt x="5497608" y="331175"/>
                  </a:cubicBezTo>
                  <a:cubicBezTo>
                    <a:pt x="5499159" y="332726"/>
                    <a:pt x="5499934" y="359856"/>
                    <a:pt x="5499934" y="412566"/>
                  </a:cubicBezTo>
                  <a:cubicBezTo>
                    <a:pt x="5499934" y="444347"/>
                    <a:pt x="5499934" y="476321"/>
                    <a:pt x="5499934" y="508490"/>
                  </a:cubicBezTo>
                  <a:cubicBezTo>
                    <a:pt x="5499934" y="540659"/>
                    <a:pt x="5499546" y="574184"/>
                    <a:pt x="5498771" y="609065"/>
                  </a:cubicBezTo>
                  <a:cubicBezTo>
                    <a:pt x="5497996" y="643947"/>
                    <a:pt x="5497608" y="681348"/>
                    <a:pt x="5497608" y="721268"/>
                  </a:cubicBezTo>
                  <a:cubicBezTo>
                    <a:pt x="5497608" y="761188"/>
                    <a:pt x="5497608" y="804402"/>
                    <a:pt x="5497608" y="850911"/>
                  </a:cubicBezTo>
                  <a:cubicBezTo>
                    <a:pt x="5497608" y="919124"/>
                    <a:pt x="5498190" y="977648"/>
                    <a:pt x="5499352" y="1026482"/>
                  </a:cubicBezTo>
                  <a:cubicBezTo>
                    <a:pt x="5500515" y="1075316"/>
                    <a:pt x="5501871" y="1114848"/>
                    <a:pt x="5503422" y="1145079"/>
                  </a:cubicBezTo>
                  <a:lnTo>
                    <a:pt x="5444123" y="1149730"/>
                  </a:lnTo>
                  <a:lnTo>
                    <a:pt x="5253437" y="1145079"/>
                  </a:lnTo>
                  <a:lnTo>
                    <a:pt x="5129026" y="1135777"/>
                  </a:lnTo>
                  <a:cubicBezTo>
                    <a:pt x="5125150" y="1128801"/>
                    <a:pt x="5122825" y="1119499"/>
                    <a:pt x="5122050" y="1107872"/>
                  </a:cubicBezTo>
                  <a:lnTo>
                    <a:pt x="4987174" y="588136"/>
                  </a:lnTo>
                  <a:cubicBezTo>
                    <a:pt x="4987174" y="620693"/>
                    <a:pt x="4987174" y="656156"/>
                    <a:pt x="4987174" y="694525"/>
                  </a:cubicBezTo>
                  <a:cubicBezTo>
                    <a:pt x="4987174" y="732895"/>
                    <a:pt x="4986787" y="774947"/>
                    <a:pt x="4986012" y="820680"/>
                  </a:cubicBezTo>
                  <a:lnTo>
                    <a:pt x="4983686" y="1163683"/>
                  </a:lnTo>
                  <a:lnTo>
                    <a:pt x="4889506" y="1160195"/>
                  </a:lnTo>
                  <a:cubicBezTo>
                    <a:pt x="4864701" y="1158644"/>
                    <a:pt x="4842609" y="1157482"/>
                    <a:pt x="4823231" y="1156706"/>
                  </a:cubicBezTo>
                  <a:cubicBezTo>
                    <a:pt x="4803852" y="1155931"/>
                    <a:pt x="4787574" y="1155544"/>
                    <a:pt x="4774397" y="1155544"/>
                  </a:cubicBezTo>
                  <a:lnTo>
                    <a:pt x="4743003" y="1155544"/>
                  </a:lnTo>
                  <a:cubicBezTo>
                    <a:pt x="4730601" y="1155544"/>
                    <a:pt x="4724400" y="1154381"/>
                    <a:pt x="4724400" y="1152056"/>
                  </a:cubicBezTo>
                  <a:lnTo>
                    <a:pt x="4724400" y="1150893"/>
                  </a:lnTo>
                  <a:cubicBezTo>
                    <a:pt x="4724400" y="581935"/>
                    <a:pt x="4727501" y="294356"/>
                    <a:pt x="4733702" y="288155"/>
                  </a:cubicBezTo>
                  <a:cubicBezTo>
                    <a:pt x="4734477" y="287379"/>
                    <a:pt x="4736802" y="286992"/>
                    <a:pt x="4740678" y="286992"/>
                  </a:cubicBezTo>
                  <a:close/>
                  <a:moveTo>
                    <a:pt x="749926" y="281178"/>
                  </a:moveTo>
                  <a:cubicBezTo>
                    <a:pt x="763104" y="281178"/>
                    <a:pt x="784033" y="281953"/>
                    <a:pt x="812713" y="283504"/>
                  </a:cubicBezTo>
                  <a:cubicBezTo>
                    <a:pt x="841393" y="285054"/>
                    <a:pt x="878213" y="287379"/>
                    <a:pt x="923172" y="290480"/>
                  </a:cubicBezTo>
                  <a:lnTo>
                    <a:pt x="1006887" y="297456"/>
                  </a:lnTo>
                  <a:lnTo>
                    <a:pt x="1004562" y="617204"/>
                  </a:lnTo>
                  <a:lnTo>
                    <a:pt x="1079575" y="612554"/>
                  </a:lnTo>
                  <a:cubicBezTo>
                    <a:pt x="1083488" y="611778"/>
                    <a:pt x="1088959" y="611000"/>
                    <a:pt x="1095990" y="610219"/>
                  </a:cubicBezTo>
                  <a:cubicBezTo>
                    <a:pt x="1103021" y="609438"/>
                    <a:pt x="1110836" y="608272"/>
                    <a:pt x="1119435" y="606722"/>
                  </a:cubicBezTo>
                  <a:lnTo>
                    <a:pt x="1148739" y="602053"/>
                  </a:lnTo>
                  <a:lnTo>
                    <a:pt x="1148739" y="318385"/>
                  </a:lnTo>
                  <a:lnTo>
                    <a:pt x="1165017" y="318385"/>
                  </a:lnTo>
                  <a:cubicBezTo>
                    <a:pt x="1193698" y="318385"/>
                    <a:pt x="1235556" y="314897"/>
                    <a:pt x="1290591" y="307921"/>
                  </a:cubicBezTo>
                  <a:cubicBezTo>
                    <a:pt x="1344076" y="302495"/>
                    <a:pt x="1384384" y="299007"/>
                    <a:pt x="1411514" y="297456"/>
                  </a:cubicBezTo>
                  <a:lnTo>
                    <a:pt x="1408026" y="604414"/>
                  </a:lnTo>
                  <a:cubicBezTo>
                    <a:pt x="1408026" y="680379"/>
                    <a:pt x="1408026" y="739096"/>
                    <a:pt x="1408026" y="780567"/>
                  </a:cubicBezTo>
                  <a:cubicBezTo>
                    <a:pt x="1408026" y="822037"/>
                    <a:pt x="1408413" y="846648"/>
                    <a:pt x="1409188" y="854399"/>
                  </a:cubicBezTo>
                  <a:lnTo>
                    <a:pt x="1419653" y="1160195"/>
                  </a:lnTo>
                  <a:lnTo>
                    <a:pt x="1142962" y="1163683"/>
                  </a:lnTo>
                  <a:cubicBezTo>
                    <a:pt x="1138287" y="1159032"/>
                    <a:pt x="1135949" y="1145467"/>
                    <a:pt x="1135949" y="1122988"/>
                  </a:cubicBezTo>
                  <a:lnTo>
                    <a:pt x="1146414" y="799751"/>
                  </a:lnTo>
                  <a:lnTo>
                    <a:pt x="1006887" y="806728"/>
                  </a:lnTo>
                  <a:lnTo>
                    <a:pt x="1022003" y="1141591"/>
                  </a:lnTo>
                  <a:lnTo>
                    <a:pt x="745275" y="1145079"/>
                  </a:lnTo>
                  <a:cubicBezTo>
                    <a:pt x="740624" y="1140428"/>
                    <a:pt x="738299" y="1126088"/>
                    <a:pt x="738299" y="1102059"/>
                  </a:cubicBezTo>
                  <a:lnTo>
                    <a:pt x="747601" y="831145"/>
                  </a:lnTo>
                  <a:cubicBezTo>
                    <a:pt x="748376" y="777660"/>
                    <a:pt x="748957" y="729213"/>
                    <a:pt x="749345" y="685805"/>
                  </a:cubicBezTo>
                  <a:cubicBezTo>
                    <a:pt x="749732" y="642397"/>
                    <a:pt x="749926" y="603252"/>
                    <a:pt x="749926" y="568370"/>
                  </a:cubicBezTo>
                  <a:close/>
                  <a:moveTo>
                    <a:pt x="642984" y="280016"/>
                  </a:moveTo>
                  <a:lnTo>
                    <a:pt x="660425" y="281178"/>
                  </a:lnTo>
                  <a:cubicBezTo>
                    <a:pt x="659650" y="285054"/>
                    <a:pt x="659262" y="290868"/>
                    <a:pt x="659262" y="298619"/>
                  </a:cubicBezTo>
                  <a:cubicBezTo>
                    <a:pt x="659262" y="306371"/>
                    <a:pt x="659262" y="316447"/>
                    <a:pt x="659262" y="328850"/>
                  </a:cubicBezTo>
                  <a:lnTo>
                    <a:pt x="663913" y="516048"/>
                  </a:lnTo>
                  <a:cubicBezTo>
                    <a:pt x="663913" y="586586"/>
                    <a:pt x="644922" y="634645"/>
                    <a:pt x="606940" y="660225"/>
                  </a:cubicBezTo>
                  <a:cubicBezTo>
                    <a:pt x="601513" y="664101"/>
                    <a:pt x="595506" y="667395"/>
                    <a:pt x="588918" y="670108"/>
                  </a:cubicBezTo>
                  <a:cubicBezTo>
                    <a:pt x="582329" y="672821"/>
                    <a:pt x="575159" y="674953"/>
                    <a:pt x="567407" y="676503"/>
                  </a:cubicBezTo>
                  <a:cubicBezTo>
                    <a:pt x="555780" y="678829"/>
                    <a:pt x="549966" y="680379"/>
                    <a:pt x="549966" y="681154"/>
                  </a:cubicBezTo>
                  <a:cubicBezTo>
                    <a:pt x="579931" y="691231"/>
                    <a:pt x="608357" y="715648"/>
                    <a:pt x="635245" y="754405"/>
                  </a:cubicBezTo>
                  <a:cubicBezTo>
                    <a:pt x="665984" y="797814"/>
                    <a:pt x="681354" y="875328"/>
                    <a:pt x="681354" y="986949"/>
                  </a:cubicBezTo>
                  <a:lnTo>
                    <a:pt x="680191" y="1047411"/>
                  </a:lnTo>
                  <a:cubicBezTo>
                    <a:pt x="680191" y="1076866"/>
                    <a:pt x="681354" y="1104772"/>
                    <a:pt x="683679" y="1131127"/>
                  </a:cubicBezTo>
                  <a:cubicBezTo>
                    <a:pt x="684454" y="1144304"/>
                    <a:pt x="685036" y="1153800"/>
                    <a:pt x="685423" y="1159613"/>
                  </a:cubicBezTo>
                  <a:lnTo>
                    <a:pt x="685849" y="1165156"/>
                  </a:lnTo>
                  <a:lnTo>
                    <a:pt x="684842" y="1167171"/>
                  </a:lnTo>
                  <a:cubicBezTo>
                    <a:pt x="684067" y="1170271"/>
                    <a:pt x="665160" y="1171822"/>
                    <a:pt x="628123" y="1171822"/>
                  </a:cubicBezTo>
                  <a:cubicBezTo>
                    <a:pt x="606516" y="1171822"/>
                    <a:pt x="589151" y="1171822"/>
                    <a:pt x="576027" y="1171822"/>
                  </a:cubicBezTo>
                  <a:cubicBezTo>
                    <a:pt x="562905" y="1171822"/>
                    <a:pt x="553261" y="1172209"/>
                    <a:pt x="547096" y="1172984"/>
                  </a:cubicBezTo>
                  <a:cubicBezTo>
                    <a:pt x="534742" y="1172984"/>
                    <a:pt x="523935" y="1172984"/>
                    <a:pt x="514676" y="1172984"/>
                  </a:cubicBezTo>
                  <a:cubicBezTo>
                    <a:pt x="505417" y="1172984"/>
                    <a:pt x="497699" y="1173372"/>
                    <a:pt x="491522" y="1174147"/>
                  </a:cubicBezTo>
                  <a:cubicBezTo>
                    <a:pt x="487670" y="1174922"/>
                    <a:pt x="483234" y="1175310"/>
                    <a:pt x="478214" y="1175310"/>
                  </a:cubicBezTo>
                  <a:cubicBezTo>
                    <a:pt x="473193" y="1175310"/>
                    <a:pt x="466826" y="1175310"/>
                    <a:pt x="459111" y="1175310"/>
                  </a:cubicBezTo>
                  <a:lnTo>
                    <a:pt x="419742" y="1176473"/>
                  </a:lnTo>
                  <a:lnTo>
                    <a:pt x="423230" y="1048573"/>
                  </a:lnTo>
                  <a:cubicBezTo>
                    <a:pt x="423230" y="1003615"/>
                    <a:pt x="419742" y="959432"/>
                    <a:pt x="412766" y="916023"/>
                  </a:cubicBezTo>
                  <a:cubicBezTo>
                    <a:pt x="405789" y="874165"/>
                    <a:pt x="396487" y="846260"/>
                    <a:pt x="384860" y="832308"/>
                  </a:cubicBezTo>
                  <a:cubicBezTo>
                    <a:pt x="367807" y="810603"/>
                    <a:pt x="344940" y="799751"/>
                    <a:pt x="316260" y="799751"/>
                  </a:cubicBezTo>
                  <a:lnTo>
                    <a:pt x="297656" y="802077"/>
                  </a:lnTo>
                  <a:cubicBezTo>
                    <a:pt x="288354" y="805953"/>
                    <a:pt x="283704" y="821843"/>
                    <a:pt x="283704" y="849748"/>
                  </a:cubicBezTo>
                  <a:cubicBezTo>
                    <a:pt x="283704" y="891606"/>
                    <a:pt x="284866" y="940828"/>
                    <a:pt x="287192" y="997414"/>
                  </a:cubicBezTo>
                  <a:lnTo>
                    <a:pt x="293005" y="1145079"/>
                  </a:lnTo>
                  <a:lnTo>
                    <a:pt x="0" y="1156706"/>
                  </a:lnTo>
                  <a:lnTo>
                    <a:pt x="3488" y="293968"/>
                  </a:lnTo>
                  <a:cubicBezTo>
                    <a:pt x="3488" y="290093"/>
                    <a:pt x="59299" y="288155"/>
                    <a:pt x="170920" y="288155"/>
                  </a:cubicBezTo>
                  <a:lnTo>
                    <a:pt x="260449" y="290480"/>
                  </a:lnTo>
                  <a:lnTo>
                    <a:pt x="277890" y="605577"/>
                  </a:lnTo>
                  <a:cubicBezTo>
                    <a:pt x="283316" y="607903"/>
                    <a:pt x="289129" y="609065"/>
                    <a:pt x="295331" y="609065"/>
                  </a:cubicBezTo>
                  <a:cubicBezTo>
                    <a:pt x="365094" y="609065"/>
                    <a:pt x="399976" y="562944"/>
                    <a:pt x="399976" y="470702"/>
                  </a:cubicBezTo>
                  <a:lnTo>
                    <a:pt x="397650" y="288155"/>
                  </a:lnTo>
                  <a:lnTo>
                    <a:pt x="426718" y="288155"/>
                  </a:lnTo>
                  <a:cubicBezTo>
                    <a:pt x="440671" y="288155"/>
                    <a:pt x="456949" y="287767"/>
                    <a:pt x="475552" y="286992"/>
                  </a:cubicBezTo>
                  <a:cubicBezTo>
                    <a:pt x="494156" y="286217"/>
                    <a:pt x="515085" y="285054"/>
                    <a:pt x="538339" y="283504"/>
                  </a:cubicBezTo>
                  <a:cubicBezTo>
                    <a:pt x="590274" y="281178"/>
                    <a:pt x="625156" y="280016"/>
                    <a:pt x="642984" y="280016"/>
                  </a:cubicBezTo>
                  <a:close/>
                  <a:moveTo>
                    <a:pt x="4316406" y="270714"/>
                  </a:moveTo>
                  <a:cubicBezTo>
                    <a:pt x="4358264" y="270714"/>
                    <a:pt x="4398959" y="276527"/>
                    <a:pt x="4438492" y="288155"/>
                  </a:cubicBezTo>
                  <a:cubicBezTo>
                    <a:pt x="4511355" y="312184"/>
                    <a:pt x="4568329" y="362569"/>
                    <a:pt x="4609411" y="439308"/>
                  </a:cubicBezTo>
                  <a:cubicBezTo>
                    <a:pt x="4650494" y="517598"/>
                    <a:pt x="4671036" y="604414"/>
                    <a:pt x="4671036" y="699758"/>
                  </a:cubicBezTo>
                  <a:cubicBezTo>
                    <a:pt x="4671036" y="829207"/>
                    <a:pt x="4637317" y="938503"/>
                    <a:pt x="4569879" y="1027644"/>
                  </a:cubicBezTo>
                  <a:cubicBezTo>
                    <a:pt x="4491589" y="1129964"/>
                    <a:pt x="4385782" y="1181123"/>
                    <a:pt x="4252456" y="1181123"/>
                  </a:cubicBezTo>
                  <a:cubicBezTo>
                    <a:pt x="4136960" y="1181123"/>
                    <a:pt x="4046268" y="1147405"/>
                    <a:pt x="3980380" y="1079967"/>
                  </a:cubicBezTo>
                  <a:cubicBezTo>
                    <a:pt x="3913717" y="1011754"/>
                    <a:pt x="3878836" y="916411"/>
                    <a:pt x="3875735" y="793938"/>
                  </a:cubicBezTo>
                  <a:cubicBezTo>
                    <a:pt x="3874960" y="790062"/>
                    <a:pt x="3874572" y="778435"/>
                    <a:pt x="3874572" y="759056"/>
                  </a:cubicBezTo>
                  <a:cubicBezTo>
                    <a:pt x="3874572" y="609453"/>
                    <a:pt x="3909454" y="494344"/>
                    <a:pt x="3979217" y="413728"/>
                  </a:cubicBezTo>
                  <a:cubicBezTo>
                    <a:pt x="4009448" y="378072"/>
                    <a:pt x="4044717" y="349391"/>
                    <a:pt x="4085025" y="327687"/>
                  </a:cubicBezTo>
                  <a:cubicBezTo>
                    <a:pt x="4153238" y="289705"/>
                    <a:pt x="4230365" y="270714"/>
                    <a:pt x="4316406" y="270714"/>
                  </a:cubicBezTo>
                  <a:close/>
                  <a:moveTo>
                    <a:pt x="5986053" y="261412"/>
                  </a:moveTo>
                  <a:lnTo>
                    <a:pt x="5988378" y="261412"/>
                  </a:lnTo>
                  <a:cubicBezTo>
                    <a:pt x="5996905" y="261412"/>
                    <a:pt x="6007951" y="262187"/>
                    <a:pt x="6021516" y="263738"/>
                  </a:cubicBezTo>
                  <a:cubicBezTo>
                    <a:pt x="6035081" y="265288"/>
                    <a:pt x="6050778" y="267613"/>
                    <a:pt x="6068606" y="270714"/>
                  </a:cubicBezTo>
                  <a:cubicBezTo>
                    <a:pt x="6078683" y="272264"/>
                    <a:pt x="6089341" y="274783"/>
                    <a:pt x="6100581" y="278272"/>
                  </a:cubicBezTo>
                  <a:cubicBezTo>
                    <a:pt x="6111821" y="281760"/>
                    <a:pt x="6123642" y="286604"/>
                    <a:pt x="6136044" y="292806"/>
                  </a:cubicBezTo>
                  <a:cubicBezTo>
                    <a:pt x="6229061" y="337764"/>
                    <a:pt x="6281772" y="410240"/>
                    <a:pt x="6294174" y="510234"/>
                  </a:cubicBezTo>
                  <a:cubicBezTo>
                    <a:pt x="6297274" y="528838"/>
                    <a:pt x="6299406" y="544728"/>
                    <a:pt x="6300568" y="557906"/>
                  </a:cubicBezTo>
                  <a:cubicBezTo>
                    <a:pt x="6301731" y="571083"/>
                    <a:pt x="6302312" y="581935"/>
                    <a:pt x="6302312" y="590462"/>
                  </a:cubicBezTo>
                  <a:lnTo>
                    <a:pt x="6203482" y="599764"/>
                  </a:lnTo>
                  <a:lnTo>
                    <a:pt x="6050003" y="611391"/>
                  </a:lnTo>
                  <a:lnTo>
                    <a:pt x="6050003" y="592787"/>
                  </a:lnTo>
                  <a:cubicBezTo>
                    <a:pt x="6050003" y="573409"/>
                    <a:pt x="6041864" y="557131"/>
                    <a:pt x="6025585" y="543953"/>
                  </a:cubicBezTo>
                  <a:cubicBezTo>
                    <a:pt x="6008532" y="530776"/>
                    <a:pt x="5989154" y="524187"/>
                    <a:pt x="5967449" y="524187"/>
                  </a:cubicBezTo>
                  <a:cubicBezTo>
                    <a:pt x="5922491" y="524187"/>
                    <a:pt x="5886447" y="549379"/>
                    <a:pt x="5859317" y="599764"/>
                  </a:cubicBezTo>
                  <a:cubicBezTo>
                    <a:pt x="5835287" y="647823"/>
                    <a:pt x="5823272" y="701308"/>
                    <a:pt x="5823272" y="760219"/>
                  </a:cubicBezTo>
                  <a:cubicBezTo>
                    <a:pt x="5823272" y="840059"/>
                    <a:pt x="5842263" y="891606"/>
                    <a:pt x="5880245" y="914861"/>
                  </a:cubicBezTo>
                  <a:cubicBezTo>
                    <a:pt x="5897299" y="924938"/>
                    <a:pt x="5915515" y="929976"/>
                    <a:pt x="5934893" y="929976"/>
                  </a:cubicBezTo>
                  <a:cubicBezTo>
                    <a:pt x="5958148" y="929976"/>
                    <a:pt x="5978689" y="923000"/>
                    <a:pt x="5996517" y="909047"/>
                  </a:cubicBezTo>
                  <a:cubicBezTo>
                    <a:pt x="6013571" y="894319"/>
                    <a:pt x="6022097" y="876491"/>
                    <a:pt x="6022097" y="855562"/>
                  </a:cubicBezTo>
                  <a:lnTo>
                    <a:pt x="5939544" y="852074"/>
                  </a:lnTo>
                  <a:lnTo>
                    <a:pt x="5939544" y="790450"/>
                  </a:lnTo>
                  <a:cubicBezTo>
                    <a:pt x="5939544" y="749367"/>
                    <a:pt x="5942257" y="727275"/>
                    <a:pt x="5947683" y="724175"/>
                  </a:cubicBezTo>
                  <a:cubicBezTo>
                    <a:pt x="5952334" y="721074"/>
                    <a:pt x="6008920" y="718749"/>
                    <a:pt x="6117440" y="717198"/>
                  </a:cubicBezTo>
                  <a:lnTo>
                    <a:pt x="6281384" y="716036"/>
                  </a:lnTo>
                  <a:lnTo>
                    <a:pt x="6284872" y="748592"/>
                  </a:lnTo>
                  <a:lnTo>
                    <a:pt x="6284872" y="764870"/>
                  </a:lnTo>
                  <a:cubicBezTo>
                    <a:pt x="6284872" y="792775"/>
                    <a:pt x="6281384" y="826882"/>
                    <a:pt x="6274407" y="867189"/>
                  </a:cubicBezTo>
                  <a:cubicBezTo>
                    <a:pt x="6267431" y="909047"/>
                    <a:pt x="6259292" y="943541"/>
                    <a:pt x="6249990" y="970671"/>
                  </a:cubicBezTo>
                  <a:cubicBezTo>
                    <a:pt x="6228286" y="1032683"/>
                    <a:pt x="6187591" y="1080742"/>
                    <a:pt x="6127905" y="1114848"/>
                  </a:cubicBezTo>
                  <a:cubicBezTo>
                    <a:pt x="6068219" y="1149730"/>
                    <a:pt x="6001944" y="1167171"/>
                    <a:pt x="5929080" y="1167171"/>
                  </a:cubicBezTo>
                  <a:cubicBezTo>
                    <a:pt x="5840713" y="1167171"/>
                    <a:pt x="5762424" y="1141591"/>
                    <a:pt x="5694210" y="1090431"/>
                  </a:cubicBezTo>
                  <a:cubicBezTo>
                    <a:pt x="5624447" y="1038497"/>
                    <a:pt x="5582202" y="964470"/>
                    <a:pt x="5567474" y="868352"/>
                  </a:cubicBezTo>
                  <a:cubicBezTo>
                    <a:pt x="5565924" y="852074"/>
                    <a:pt x="5564567" y="836958"/>
                    <a:pt x="5563404" y="823006"/>
                  </a:cubicBezTo>
                  <a:cubicBezTo>
                    <a:pt x="5562242" y="809053"/>
                    <a:pt x="5561660" y="796651"/>
                    <a:pt x="5561660" y="785799"/>
                  </a:cubicBezTo>
                  <a:cubicBezTo>
                    <a:pt x="5561660" y="664876"/>
                    <a:pt x="5582589" y="562944"/>
                    <a:pt x="5624447" y="480003"/>
                  </a:cubicBezTo>
                  <a:cubicBezTo>
                    <a:pt x="5663980" y="402489"/>
                    <a:pt x="5718627" y="345515"/>
                    <a:pt x="5788391" y="309084"/>
                  </a:cubicBezTo>
                  <a:cubicBezTo>
                    <a:pt x="5800793" y="302882"/>
                    <a:pt x="5814358" y="297069"/>
                    <a:pt x="5829086" y="291643"/>
                  </a:cubicBezTo>
                  <a:cubicBezTo>
                    <a:pt x="5843814" y="286217"/>
                    <a:pt x="5859704" y="281178"/>
                    <a:pt x="5876757" y="276527"/>
                  </a:cubicBezTo>
                  <a:cubicBezTo>
                    <a:pt x="5917840" y="266451"/>
                    <a:pt x="5954272" y="261412"/>
                    <a:pt x="5986053" y="261412"/>
                  </a:cubicBezTo>
                  <a:close/>
                  <a:moveTo>
                    <a:pt x="2195159" y="191649"/>
                  </a:moveTo>
                  <a:lnTo>
                    <a:pt x="2219576" y="205602"/>
                  </a:lnTo>
                  <a:cubicBezTo>
                    <a:pt x="2300191" y="253661"/>
                    <a:pt x="2322670" y="312184"/>
                    <a:pt x="2287014" y="381172"/>
                  </a:cubicBezTo>
                  <a:lnTo>
                    <a:pt x="2284688" y="385823"/>
                  </a:lnTo>
                  <a:cubicBezTo>
                    <a:pt x="2268410" y="416054"/>
                    <a:pt x="2244381" y="436595"/>
                    <a:pt x="2212600" y="447447"/>
                  </a:cubicBezTo>
                  <a:cubicBezTo>
                    <a:pt x="2251357" y="523412"/>
                    <a:pt x="2270736" y="607515"/>
                    <a:pt x="2270736" y="699758"/>
                  </a:cubicBezTo>
                  <a:cubicBezTo>
                    <a:pt x="2270736" y="829207"/>
                    <a:pt x="2237017" y="938503"/>
                    <a:pt x="2169579" y="1027644"/>
                  </a:cubicBezTo>
                  <a:cubicBezTo>
                    <a:pt x="2091289" y="1129964"/>
                    <a:pt x="1985482" y="1181123"/>
                    <a:pt x="1852157" y="1181123"/>
                  </a:cubicBezTo>
                  <a:cubicBezTo>
                    <a:pt x="1736660" y="1181123"/>
                    <a:pt x="1645968" y="1147405"/>
                    <a:pt x="1580080" y="1079967"/>
                  </a:cubicBezTo>
                  <a:cubicBezTo>
                    <a:pt x="1513418" y="1011754"/>
                    <a:pt x="1478536" y="916411"/>
                    <a:pt x="1475436" y="793938"/>
                  </a:cubicBezTo>
                  <a:cubicBezTo>
                    <a:pt x="1474660" y="790062"/>
                    <a:pt x="1474273" y="778435"/>
                    <a:pt x="1474273" y="759056"/>
                  </a:cubicBezTo>
                  <a:cubicBezTo>
                    <a:pt x="1474273" y="609453"/>
                    <a:pt x="1509154" y="494344"/>
                    <a:pt x="1578918" y="413728"/>
                  </a:cubicBezTo>
                  <a:cubicBezTo>
                    <a:pt x="1609148" y="378072"/>
                    <a:pt x="1644417" y="349391"/>
                    <a:pt x="1684725" y="327687"/>
                  </a:cubicBezTo>
                  <a:cubicBezTo>
                    <a:pt x="1752938" y="289705"/>
                    <a:pt x="1830065" y="270714"/>
                    <a:pt x="1916106" y="270714"/>
                  </a:cubicBezTo>
                  <a:cubicBezTo>
                    <a:pt x="1957964" y="270714"/>
                    <a:pt x="1998659" y="276527"/>
                    <a:pt x="2038192" y="288155"/>
                  </a:cubicBezTo>
                  <a:cubicBezTo>
                    <a:pt x="2090902" y="305983"/>
                    <a:pt x="2134310" y="335826"/>
                    <a:pt x="2168416" y="377684"/>
                  </a:cubicBezTo>
                  <a:cubicBezTo>
                    <a:pt x="2185470" y="380785"/>
                    <a:pt x="2199034" y="374583"/>
                    <a:pt x="2209112" y="359081"/>
                  </a:cubicBezTo>
                  <a:lnTo>
                    <a:pt x="2210274" y="357918"/>
                  </a:lnTo>
                  <a:cubicBezTo>
                    <a:pt x="2218026" y="340865"/>
                    <a:pt x="2215700" y="324587"/>
                    <a:pt x="2203298" y="309084"/>
                  </a:cubicBezTo>
                  <a:cubicBezTo>
                    <a:pt x="2192446" y="297456"/>
                    <a:pt x="2175393" y="285442"/>
                    <a:pt x="2152138" y="273039"/>
                  </a:cubicBezTo>
                  <a:close/>
                  <a:moveTo>
                    <a:pt x="4176880" y="73051"/>
                  </a:moveTo>
                  <a:lnTo>
                    <a:pt x="4286175" y="76540"/>
                  </a:lnTo>
                  <a:lnTo>
                    <a:pt x="4401285" y="73051"/>
                  </a:lnTo>
                  <a:cubicBezTo>
                    <a:pt x="4404385" y="79277"/>
                    <a:pt x="4409424" y="89027"/>
                    <a:pt x="4416400" y="102301"/>
                  </a:cubicBezTo>
                  <a:cubicBezTo>
                    <a:pt x="4423376" y="115576"/>
                    <a:pt x="4433066" y="132356"/>
                    <a:pt x="4445468" y="152643"/>
                  </a:cubicBezTo>
                  <a:cubicBezTo>
                    <a:pt x="4466397" y="188554"/>
                    <a:pt x="4480737" y="215097"/>
                    <a:pt x="4488489" y="232271"/>
                  </a:cubicBezTo>
                  <a:lnTo>
                    <a:pt x="4486163" y="232271"/>
                  </a:lnTo>
                  <a:cubicBezTo>
                    <a:pt x="4479187" y="232271"/>
                    <a:pt x="4461359" y="234609"/>
                    <a:pt x="4432678" y="239284"/>
                  </a:cubicBezTo>
                  <a:cubicBezTo>
                    <a:pt x="4419501" y="240834"/>
                    <a:pt x="4405161" y="242391"/>
                    <a:pt x="4389657" y="243953"/>
                  </a:cubicBezTo>
                  <a:cubicBezTo>
                    <a:pt x="4374155" y="245516"/>
                    <a:pt x="4357876" y="246684"/>
                    <a:pt x="4340823" y="247459"/>
                  </a:cubicBezTo>
                  <a:cubicBezTo>
                    <a:pt x="4332297" y="234972"/>
                    <a:pt x="4323576" y="221316"/>
                    <a:pt x="4314662" y="206492"/>
                  </a:cubicBezTo>
                  <a:cubicBezTo>
                    <a:pt x="4305748" y="191667"/>
                    <a:pt x="4296640" y="175280"/>
                    <a:pt x="4287338" y="157330"/>
                  </a:cubicBezTo>
                  <a:lnTo>
                    <a:pt x="4226877" y="247459"/>
                  </a:lnTo>
                  <a:cubicBezTo>
                    <a:pt x="4214474" y="246684"/>
                    <a:pt x="4200522" y="246103"/>
                    <a:pt x="4185019" y="245715"/>
                  </a:cubicBezTo>
                  <a:cubicBezTo>
                    <a:pt x="4169516" y="245328"/>
                    <a:pt x="4152850" y="244746"/>
                    <a:pt x="4135022" y="243971"/>
                  </a:cubicBezTo>
                  <a:lnTo>
                    <a:pt x="4057120" y="241628"/>
                  </a:lnTo>
                  <a:cubicBezTo>
                    <a:pt x="4065646" y="228353"/>
                    <a:pt x="4075336" y="214107"/>
                    <a:pt x="4086188" y="198889"/>
                  </a:cubicBezTo>
                  <a:cubicBezTo>
                    <a:pt x="4097040" y="183670"/>
                    <a:pt x="4108667" y="168255"/>
                    <a:pt x="4121069" y="152643"/>
                  </a:cubicBezTo>
                  <a:cubicBezTo>
                    <a:pt x="4148974" y="115182"/>
                    <a:pt x="4167578" y="88651"/>
                    <a:pt x="4176880" y="73051"/>
                  </a:cubicBezTo>
                  <a:close/>
                  <a:moveTo>
                    <a:pt x="1966975" y="91"/>
                  </a:moveTo>
                  <a:cubicBezTo>
                    <a:pt x="1981897" y="-491"/>
                    <a:pt x="1995946" y="1738"/>
                    <a:pt x="2009124" y="6776"/>
                  </a:cubicBezTo>
                  <a:cubicBezTo>
                    <a:pt x="2033929" y="17628"/>
                    <a:pt x="2050982" y="35069"/>
                    <a:pt x="2060283" y="59099"/>
                  </a:cubicBezTo>
                  <a:cubicBezTo>
                    <a:pt x="2071911" y="87779"/>
                    <a:pt x="2069973" y="116847"/>
                    <a:pt x="2054470" y="146303"/>
                  </a:cubicBezTo>
                  <a:cubicBezTo>
                    <a:pt x="2037417" y="178859"/>
                    <a:pt x="2006798" y="204051"/>
                    <a:pt x="1962615" y="221880"/>
                  </a:cubicBezTo>
                  <a:lnTo>
                    <a:pt x="1921920" y="233507"/>
                  </a:lnTo>
                  <a:lnTo>
                    <a:pt x="1909130" y="203276"/>
                  </a:lnTo>
                  <a:cubicBezTo>
                    <a:pt x="1913781" y="202501"/>
                    <a:pt x="1921532" y="198044"/>
                    <a:pt x="1932384" y="189905"/>
                  </a:cubicBezTo>
                  <a:cubicBezTo>
                    <a:pt x="1943237" y="181766"/>
                    <a:pt x="1953701" y="171495"/>
                    <a:pt x="1963778" y="159093"/>
                  </a:cubicBezTo>
                  <a:cubicBezTo>
                    <a:pt x="1977730" y="141264"/>
                    <a:pt x="1980443" y="122273"/>
                    <a:pt x="1971917" y="102119"/>
                  </a:cubicBezTo>
                  <a:cubicBezTo>
                    <a:pt x="1964165" y="88167"/>
                    <a:pt x="1952732" y="80803"/>
                    <a:pt x="1937617" y="80028"/>
                  </a:cubicBezTo>
                  <a:cubicBezTo>
                    <a:pt x="1922501" y="79253"/>
                    <a:pt x="1909518" y="86229"/>
                    <a:pt x="1898666" y="100957"/>
                  </a:cubicBezTo>
                  <a:lnTo>
                    <a:pt x="1838204" y="64912"/>
                  </a:lnTo>
                  <a:cubicBezTo>
                    <a:pt x="1869985" y="37007"/>
                    <a:pt x="1897115" y="18791"/>
                    <a:pt x="1919594" y="10265"/>
                  </a:cubicBezTo>
                  <a:cubicBezTo>
                    <a:pt x="1936260" y="4063"/>
                    <a:pt x="1952053" y="672"/>
                    <a:pt x="1966975" y="91"/>
                  </a:cubicBezTo>
                  <a:close/>
                </a:path>
              </a:pathLst>
            </a:custGeom>
            <a:solidFill>
              <a:schemeClr val="bg1"/>
            </a:solidFill>
            <a:ln w="177800">
              <a:solidFill>
                <a:schemeClr val="bg1"/>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9400" b="0" i="0" u="none" strike="noStrike" kern="1200" cap="none" spc="300" normalizeH="0" baseline="0" noProof="0">
                <a:ln w="177800">
                  <a:solidFill>
                    <a:prstClr val="white"/>
                  </a:solidFill>
                </a:ln>
                <a:solidFill>
                  <a:prstClr val="white"/>
                </a:solidFill>
                <a:effectLst/>
                <a:uLnTx/>
                <a:uFillTx/>
                <a:latin typeface="#9Slide07 Crocante" panose="02000000000000000000" pitchFamily="2" charset="0"/>
                <a:ea typeface="+mn-ea"/>
                <a:cs typeface="+mn-cs"/>
              </a:endParaRPr>
            </a:p>
          </p:txBody>
        </p:sp>
        <p:sp>
          <p:nvSpPr>
            <p:cNvPr id="12" name="TextBox 11">
              <a:extLst>
                <a:ext uri="{FF2B5EF4-FFF2-40B4-BE49-F238E27FC236}">
                  <a16:creationId xmlns:a16="http://schemas.microsoft.com/office/drawing/2014/main" id="{5FE0B441-82BD-FA01-C3BF-6AA240ACE042}"/>
                </a:ext>
              </a:extLst>
            </p:cNvPr>
            <p:cNvSpPr txBox="1">
              <a:spLocks noChangeAspect="1"/>
            </p:cNvSpPr>
            <p:nvPr/>
          </p:nvSpPr>
          <p:spPr>
            <a:xfrm>
              <a:off x="2246716" y="1721946"/>
              <a:ext cx="6302312" cy="1417156"/>
            </a:xfrm>
            <a:custGeom>
              <a:avLst/>
              <a:gdLst/>
              <a:ahLst/>
              <a:cxnLst/>
              <a:rect l="l" t="t" r="r" b="b"/>
              <a:pathLst>
                <a:path w="6302312" h="1417156">
                  <a:moveTo>
                    <a:pt x="4280362" y="1229958"/>
                  </a:moveTo>
                  <a:cubicBezTo>
                    <a:pt x="4339273" y="1229958"/>
                    <a:pt x="4368729" y="1262126"/>
                    <a:pt x="4368729" y="1326463"/>
                  </a:cubicBezTo>
                  <a:cubicBezTo>
                    <a:pt x="4368729" y="1386925"/>
                    <a:pt x="4338886" y="1417156"/>
                    <a:pt x="4279199" y="1417156"/>
                  </a:cubicBezTo>
                  <a:cubicBezTo>
                    <a:pt x="4252844" y="1417156"/>
                    <a:pt x="4230753" y="1409404"/>
                    <a:pt x="4212924" y="1393901"/>
                  </a:cubicBezTo>
                  <a:cubicBezTo>
                    <a:pt x="4194321" y="1377623"/>
                    <a:pt x="4185019" y="1354756"/>
                    <a:pt x="4185019" y="1325301"/>
                  </a:cubicBezTo>
                  <a:cubicBezTo>
                    <a:pt x="4185019" y="1261739"/>
                    <a:pt x="4216800" y="1229958"/>
                    <a:pt x="4280362" y="1229958"/>
                  </a:cubicBezTo>
                  <a:close/>
                  <a:moveTo>
                    <a:pt x="686005" y="1164845"/>
                  </a:moveTo>
                  <a:cubicBezTo>
                    <a:pt x="686005" y="1166008"/>
                    <a:pt x="685956" y="1166153"/>
                    <a:pt x="685859" y="1165281"/>
                  </a:cubicBezTo>
                  <a:lnTo>
                    <a:pt x="685849" y="1165156"/>
                  </a:lnTo>
                  <a:close/>
                  <a:moveTo>
                    <a:pt x="3443725" y="554418"/>
                  </a:moveTo>
                  <a:lnTo>
                    <a:pt x="3403029" y="556743"/>
                  </a:lnTo>
                  <a:lnTo>
                    <a:pt x="3403029" y="638133"/>
                  </a:lnTo>
                  <a:lnTo>
                    <a:pt x="3499535" y="635808"/>
                  </a:lnTo>
                  <a:lnTo>
                    <a:pt x="3487908" y="831145"/>
                  </a:lnTo>
                  <a:cubicBezTo>
                    <a:pt x="3468529" y="830370"/>
                    <a:pt x="3452251" y="829788"/>
                    <a:pt x="3439074" y="829401"/>
                  </a:cubicBezTo>
                  <a:cubicBezTo>
                    <a:pt x="3425896" y="829013"/>
                    <a:pt x="3415432" y="828819"/>
                    <a:pt x="3407680" y="828819"/>
                  </a:cubicBezTo>
                  <a:lnTo>
                    <a:pt x="3410006" y="889281"/>
                  </a:lnTo>
                  <a:lnTo>
                    <a:pt x="3434423" y="889281"/>
                  </a:lnTo>
                  <a:cubicBezTo>
                    <a:pt x="3460778" y="889281"/>
                    <a:pt x="3479381" y="886955"/>
                    <a:pt x="3490233" y="882304"/>
                  </a:cubicBezTo>
                  <a:cubicBezTo>
                    <a:pt x="3500310" y="878429"/>
                    <a:pt x="3512713" y="866802"/>
                    <a:pt x="3527440" y="847423"/>
                  </a:cubicBezTo>
                  <a:cubicBezTo>
                    <a:pt x="3548369" y="818743"/>
                    <a:pt x="3558834" y="775334"/>
                    <a:pt x="3558834" y="717198"/>
                  </a:cubicBezTo>
                  <a:cubicBezTo>
                    <a:pt x="3558834" y="651311"/>
                    <a:pt x="3546819" y="605190"/>
                    <a:pt x="3522789" y="578835"/>
                  </a:cubicBezTo>
                  <a:cubicBezTo>
                    <a:pt x="3507287" y="562557"/>
                    <a:pt x="3480932" y="554418"/>
                    <a:pt x="3443725" y="554418"/>
                  </a:cubicBezTo>
                  <a:close/>
                  <a:moveTo>
                    <a:pt x="4287338" y="531163"/>
                  </a:moveTo>
                  <a:cubicBezTo>
                    <a:pt x="4265634" y="531163"/>
                    <a:pt x="4241217" y="541240"/>
                    <a:pt x="4214087" y="561394"/>
                  </a:cubicBezTo>
                  <a:cubicBezTo>
                    <a:pt x="4184631" y="586199"/>
                    <a:pt x="4169904" y="638909"/>
                    <a:pt x="4169904" y="719524"/>
                  </a:cubicBezTo>
                  <a:cubicBezTo>
                    <a:pt x="4169904" y="778435"/>
                    <a:pt x="4176880" y="823393"/>
                    <a:pt x="4190833" y="854399"/>
                  </a:cubicBezTo>
                  <a:cubicBezTo>
                    <a:pt x="4207886" y="897807"/>
                    <a:pt x="4239279" y="918736"/>
                    <a:pt x="4285013" y="917186"/>
                  </a:cubicBezTo>
                  <a:cubicBezTo>
                    <a:pt x="4330747" y="917186"/>
                    <a:pt x="4360590" y="896645"/>
                    <a:pt x="4374542" y="855562"/>
                  </a:cubicBezTo>
                  <a:cubicBezTo>
                    <a:pt x="4388495" y="812929"/>
                    <a:pt x="4395471" y="769521"/>
                    <a:pt x="4395471" y="725337"/>
                  </a:cubicBezTo>
                  <a:cubicBezTo>
                    <a:pt x="4395471" y="671077"/>
                    <a:pt x="4385782" y="624956"/>
                    <a:pt x="4366403" y="586974"/>
                  </a:cubicBezTo>
                  <a:cubicBezTo>
                    <a:pt x="4346249" y="549767"/>
                    <a:pt x="4319894" y="531163"/>
                    <a:pt x="4287338" y="531163"/>
                  </a:cubicBezTo>
                  <a:close/>
                  <a:moveTo>
                    <a:pt x="1887038" y="531163"/>
                  </a:moveTo>
                  <a:cubicBezTo>
                    <a:pt x="1865334" y="531163"/>
                    <a:pt x="1840917" y="541240"/>
                    <a:pt x="1813787" y="561394"/>
                  </a:cubicBezTo>
                  <a:cubicBezTo>
                    <a:pt x="1784331" y="586199"/>
                    <a:pt x="1769603" y="638909"/>
                    <a:pt x="1769603" y="719524"/>
                  </a:cubicBezTo>
                  <a:cubicBezTo>
                    <a:pt x="1769603" y="778435"/>
                    <a:pt x="1776580" y="823393"/>
                    <a:pt x="1790533" y="854399"/>
                  </a:cubicBezTo>
                  <a:cubicBezTo>
                    <a:pt x="1807586" y="897807"/>
                    <a:pt x="1838979" y="918736"/>
                    <a:pt x="1884713" y="917186"/>
                  </a:cubicBezTo>
                  <a:cubicBezTo>
                    <a:pt x="1930446" y="917186"/>
                    <a:pt x="1960289" y="896645"/>
                    <a:pt x="1974242" y="855562"/>
                  </a:cubicBezTo>
                  <a:cubicBezTo>
                    <a:pt x="1988195" y="812929"/>
                    <a:pt x="1995171" y="769521"/>
                    <a:pt x="1995171" y="725337"/>
                  </a:cubicBezTo>
                  <a:cubicBezTo>
                    <a:pt x="1995171" y="671077"/>
                    <a:pt x="1985482" y="624956"/>
                    <a:pt x="1966103" y="586974"/>
                  </a:cubicBezTo>
                  <a:cubicBezTo>
                    <a:pt x="1945949" y="549767"/>
                    <a:pt x="1919594" y="531163"/>
                    <a:pt x="1887038" y="531163"/>
                  </a:cubicBezTo>
                  <a:close/>
                  <a:moveTo>
                    <a:pt x="2619431" y="330013"/>
                  </a:moveTo>
                  <a:lnTo>
                    <a:pt x="2619431" y="576509"/>
                  </a:lnTo>
                  <a:cubicBezTo>
                    <a:pt x="2619431" y="667976"/>
                    <a:pt x="2620206" y="750917"/>
                    <a:pt x="2621756" y="825331"/>
                  </a:cubicBezTo>
                  <a:cubicBezTo>
                    <a:pt x="2623307" y="899745"/>
                    <a:pt x="2625632" y="966408"/>
                    <a:pt x="2628732" y="1025319"/>
                  </a:cubicBezTo>
                  <a:lnTo>
                    <a:pt x="2631058" y="1110198"/>
                  </a:lnTo>
                  <a:cubicBezTo>
                    <a:pt x="2631058" y="1133452"/>
                    <a:pt x="2628732" y="1147792"/>
                    <a:pt x="2624082" y="1153218"/>
                  </a:cubicBezTo>
                  <a:lnTo>
                    <a:pt x="2333402" y="1141591"/>
                  </a:lnTo>
                  <a:lnTo>
                    <a:pt x="2335727" y="596275"/>
                  </a:lnTo>
                  <a:cubicBezTo>
                    <a:pt x="2336502" y="559068"/>
                    <a:pt x="2336890" y="519148"/>
                    <a:pt x="2336890" y="476515"/>
                  </a:cubicBezTo>
                  <a:cubicBezTo>
                    <a:pt x="2336890" y="433882"/>
                    <a:pt x="2336890" y="387761"/>
                    <a:pt x="2336890" y="338152"/>
                  </a:cubicBezTo>
                  <a:lnTo>
                    <a:pt x="2404327" y="338152"/>
                  </a:lnTo>
                  <a:cubicBezTo>
                    <a:pt x="2426807" y="338152"/>
                    <a:pt x="2449867" y="337764"/>
                    <a:pt x="2473509" y="336989"/>
                  </a:cubicBezTo>
                  <a:cubicBezTo>
                    <a:pt x="2497151" y="336214"/>
                    <a:pt x="2521375" y="335051"/>
                    <a:pt x="2546179" y="333501"/>
                  </a:cubicBezTo>
                  <a:close/>
                  <a:moveTo>
                    <a:pt x="3461165" y="311409"/>
                  </a:moveTo>
                  <a:cubicBezTo>
                    <a:pt x="3576662" y="311409"/>
                    <a:pt x="3664254" y="335051"/>
                    <a:pt x="3723940" y="382335"/>
                  </a:cubicBezTo>
                  <a:cubicBezTo>
                    <a:pt x="3791378" y="435820"/>
                    <a:pt x="3825097" y="542403"/>
                    <a:pt x="3825097" y="702083"/>
                  </a:cubicBezTo>
                  <a:cubicBezTo>
                    <a:pt x="3825097" y="854787"/>
                    <a:pt x="3797191" y="965245"/>
                    <a:pt x="3741381" y="1033458"/>
                  </a:cubicBezTo>
                  <a:cubicBezTo>
                    <a:pt x="3681695" y="1107872"/>
                    <a:pt x="3566585" y="1145079"/>
                    <a:pt x="3396053" y="1145079"/>
                  </a:cubicBezTo>
                  <a:lnTo>
                    <a:pt x="3335592" y="1145079"/>
                  </a:lnTo>
                  <a:cubicBezTo>
                    <a:pt x="3241024" y="1145079"/>
                    <a:pt x="3164284" y="1143916"/>
                    <a:pt x="3105373" y="1141591"/>
                  </a:cubicBezTo>
                  <a:lnTo>
                    <a:pt x="3120488" y="856725"/>
                  </a:lnTo>
                  <a:lnTo>
                    <a:pt x="3120488" y="831145"/>
                  </a:lnTo>
                  <a:lnTo>
                    <a:pt x="3100722" y="831145"/>
                  </a:lnTo>
                  <a:cubicBezTo>
                    <a:pt x="3099947" y="824944"/>
                    <a:pt x="3099559" y="816223"/>
                    <a:pt x="3099559" y="804984"/>
                  </a:cubicBezTo>
                  <a:cubicBezTo>
                    <a:pt x="3099559" y="793744"/>
                    <a:pt x="3099559" y="779598"/>
                    <a:pt x="3099559" y="762544"/>
                  </a:cubicBezTo>
                  <a:lnTo>
                    <a:pt x="3099559" y="700920"/>
                  </a:lnTo>
                  <a:cubicBezTo>
                    <a:pt x="3099559" y="686192"/>
                    <a:pt x="3099559" y="673790"/>
                    <a:pt x="3099559" y="663713"/>
                  </a:cubicBezTo>
                  <a:cubicBezTo>
                    <a:pt x="3099559" y="653636"/>
                    <a:pt x="3099172" y="645885"/>
                    <a:pt x="3098397" y="640459"/>
                  </a:cubicBezTo>
                  <a:lnTo>
                    <a:pt x="3125139" y="640459"/>
                  </a:lnTo>
                  <a:lnTo>
                    <a:pt x="3121651" y="320711"/>
                  </a:lnTo>
                  <a:lnTo>
                    <a:pt x="3190252" y="319548"/>
                  </a:lnTo>
                  <a:cubicBezTo>
                    <a:pt x="3203429" y="319548"/>
                    <a:pt x="3250713" y="318385"/>
                    <a:pt x="3332103" y="316060"/>
                  </a:cubicBezTo>
                  <a:cubicBezTo>
                    <a:pt x="3349932" y="314510"/>
                    <a:pt x="3369698" y="313347"/>
                    <a:pt x="3391402" y="312572"/>
                  </a:cubicBezTo>
                  <a:cubicBezTo>
                    <a:pt x="3413106" y="311797"/>
                    <a:pt x="3436361" y="311409"/>
                    <a:pt x="3461165" y="311409"/>
                  </a:cubicBezTo>
                  <a:close/>
                  <a:moveTo>
                    <a:pt x="4740678" y="286992"/>
                  </a:moveTo>
                  <a:cubicBezTo>
                    <a:pt x="4746879" y="286992"/>
                    <a:pt x="4761607" y="287961"/>
                    <a:pt x="4784861" y="289899"/>
                  </a:cubicBezTo>
                  <a:cubicBezTo>
                    <a:pt x="4808115" y="291837"/>
                    <a:pt x="4839897" y="294743"/>
                    <a:pt x="4880204" y="298619"/>
                  </a:cubicBezTo>
                  <a:cubicBezTo>
                    <a:pt x="4924387" y="302495"/>
                    <a:pt x="4960432" y="305595"/>
                    <a:pt x="4988337" y="307921"/>
                  </a:cubicBezTo>
                  <a:cubicBezTo>
                    <a:pt x="5016242" y="310246"/>
                    <a:pt x="5036784" y="311409"/>
                    <a:pt x="5049961" y="311409"/>
                  </a:cubicBezTo>
                  <a:cubicBezTo>
                    <a:pt x="5098795" y="311409"/>
                    <a:pt x="5124375" y="312959"/>
                    <a:pt x="5126701" y="316060"/>
                  </a:cubicBezTo>
                  <a:cubicBezTo>
                    <a:pt x="5131352" y="323811"/>
                    <a:pt x="5150343" y="396675"/>
                    <a:pt x="5183674" y="534651"/>
                  </a:cubicBezTo>
                  <a:cubicBezTo>
                    <a:pt x="5196852" y="590462"/>
                    <a:pt x="5210029" y="647241"/>
                    <a:pt x="5223206" y="704990"/>
                  </a:cubicBezTo>
                  <a:cubicBezTo>
                    <a:pt x="5236384" y="762738"/>
                    <a:pt x="5249561" y="821843"/>
                    <a:pt x="5262739" y="882304"/>
                  </a:cubicBezTo>
                  <a:lnTo>
                    <a:pt x="5262739" y="848586"/>
                  </a:lnTo>
                  <a:cubicBezTo>
                    <a:pt x="5262739" y="723012"/>
                    <a:pt x="5260413" y="632320"/>
                    <a:pt x="5255763" y="576509"/>
                  </a:cubicBezTo>
                  <a:lnTo>
                    <a:pt x="5237159" y="324199"/>
                  </a:lnTo>
                  <a:cubicBezTo>
                    <a:pt x="5406141" y="324199"/>
                    <a:pt x="5492957" y="326524"/>
                    <a:pt x="5497608" y="331175"/>
                  </a:cubicBezTo>
                  <a:cubicBezTo>
                    <a:pt x="5499159" y="332726"/>
                    <a:pt x="5499934" y="359856"/>
                    <a:pt x="5499934" y="412566"/>
                  </a:cubicBezTo>
                  <a:cubicBezTo>
                    <a:pt x="5499934" y="444347"/>
                    <a:pt x="5499934" y="476321"/>
                    <a:pt x="5499934" y="508490"/>
                  </a:cubicBezTo>
                  <a:cubicBezTo>
                    <a:pt x="5499934" y="540659"/>
                    <a:pt x="5499546" y="574184"/>
                    <a:pt x="5498771" y="609065"/>
                  </a:cubicBezTo>
                  <a:cubicBezTo>
                    <a:pt x="5497996" y="643947"/>
                    <a:pt x="5497608" y="681348"/>
                    <a:pt x="5497608" y="721268"/>
                  </a:cubicBezTo>
                  <a:cubicBezTo>
                    <a:pt x="5497608" y="761188"/>
                    <a:pt x="5497608" y="804402"/>
                    <a:pt x="5497608" y="850911"/>
                  </a:cubicBezTo>
                  <a:cubicBezTo>
                    <a:pt x="5497608" y="919124"/>
                    <a:pt x="5498190" y="977648"/>
                    <a:pt x="5499352" y="1026482"/>
                  </a:cubicBezTo>
                  <a:cubicBezTo>
                    <a:pt x="5500515" y="1075316"/>
                    <a:pt x="5501871" y="1114848"/>
                    <a:pt x="5503422" y="1145079"/>
                  </a:cubicBezTo>
                  <a:lnTo>
                    <a:pt x="5444123" y="1149730"/>
                  </a:lnTo>
                  <a:lnTo>
                    <a:pt x="5253437" y="1145079"/>
                  </a:lnTo>
                  <a:lnTo>
                    <a:pt x="5129026" y="1135777"/>
                  </a:lnTo>
                  <a:cubicBezTo>
                    <a:pt x="5125150" y="1128801"/>
                    <a:pt x="5122825" y="1119499"/>
                    <a:pt x="5122050" y="1107872"/>
                  </a:cubicBezTo>
                  <a:lnTo>
                    <a:pt x="4987174" y="588136"/>
                  </a:lnTo>
                  <a:cubicBezTo>
                    <a:pt x="4987174" y="620693"/>
                    <a:pt x="4987174" y="656156"/>
                    <a:pt x="4987174" y="694525"/>
                  </a:cubicBezTo>
                  <a:cubicBezTo>
                    <a:pt x="4987174" y="732895"/>
                    <a:pt x="4986787" y="774947"/>
                    <a:pt x="4986012" y="820680"/>
                  </a:cubicBezTo>
                  <a:lnTo>
                    <a:pt x="4983686" y="1163683"/>
                  </a:lnTo>
                  <a:lnTo>
                    <a:pt x="4889506" y="1160195"/>
                  </a:lnTo>
                  <a:cubicBezTo>
                    <a:pt x="4864701" y="1158644"/>
                    <a:pt x="4842609" y="1157482"/>
                    <a:pt x="4823231" y="1156706"/>
                  </a:cubicBezTo>
                  <a:cubicBezTo>
                    <a:pt x="4803852" y="1155931"/>
                    <a:pt x="4787574" y="1155544"/>
                    <a:pt x="4774397" y="1155544"/>
                  </a:cubicBezTo>
                  <a:lnTo>
                    <a:pt x="4743003" y="1155544"/>
                  </a:lnTo>
                  <a:cubicBezTo>
                    <a:pt x="4730601" y="1155544"/>
                    <a:pt x="4724400" y="1154381"/>
                    <a:pt x="4724400" y="1152056"/>
                  </a:cubicBezTo>
                  <a:lnTo>
                    <a:pt x="4724400" y="1150893"/>
                  </a:lnTo>
                  <a:cubicBezTo>
                    <a:pt x="4724400" y="581935"/>
                    <a:pt x="4727501" y="294356"/>
                    <a:pt x="4733701" y="288155"/>
                  </a:cubicBezTo>
                  <a:cubicBezTo>
                    <a:pt x="4734477" y="287379"/>
                    <a:pt x="4736802" y="286992"/>
                    <a:pt x="4740678" y="286992"/>
                  </a:cubicBezTo>
                  <a:close/>
                  <a:moveTo>
                    <a:pt x="749926" y="281178"/>
                  </a:moveTo>
                  <a:cubicBezTo>
                    <a:pt x="763104" y="281178"/>
                    <a:pt x="784033" y="281953"/>
                    <a:pt x="812713" y="283504"/>
                  </a:cubicBezTo>
                  <a:cubicBezTo>
                    <a:pt x="841393" y="285054"/>
                    <a:pt x="878213" y="287379"/>
                    <a:pt x="923172" y="290480"/>
                  </a:cubicBezTo>
                  <a:lnTo>
                    <a:pt x="1006887" y="297456"/>
                  </a:lnTo>
                  <a:lnTo>
                    <a:pt x="1004562" y="617204"/>
                  </a:lnTo>
                  <a:lnTo>
                    <a:pt x="1079576" y="612554"/>
                  </a:lnTo>
                  <a:cubicBezTo>
                    <a:pt x="1083488" y="611778"/>
                    <a:pt x="1088959" y="611000"/>
                    <a:pt x="1095990" y="610219"/>
                  </a:cubicBezTo>
                  <a:cubicBezTo>
                    <a:pt x="1103021" y="609438"/>
                    <a:pt x="1110836" y="608272"/>
                    <a:pt x="1119435" y="606722"/>
                  </a:cubicBezTo>
                  <a:lnTo>
                    <a:pt x="1148739" y="602053"/>
                  </a:lnTo>
                  <a:lnTo>
                    <a:pt x="1148739" y="318385"/>
                  </a:lnTo>
                  <a:lnTo>
                    <a:pt x="1165017" y="318385"/>
                  </a:lnTo>
                  <a:cubicBezTo>
                    <a:pt x="1193698" y="318385"/>
                    <a:pt x="1235556" y="314897"/>
                    <a:pt x="1290591" y="307921"/>
                  </a:cubicBezTo>
                  <a:cubicBezTo>
                    <a:pt x="1344076" y="302495"/>
                    <a:pt x="1384384" y="299007"/>
                    <a:pt x="1411514" y="297456"/>
                  </a:cubicBezTo>
                  <a:lnTo>
                    <a:pt x="1408026" y="604414"/>
                  </a:lnTo>
                  <a:cubicBezTo>
                    <a:pt x="1408026" y="680379"/>
                    <a:pt x="1408026" y="739096"/>
                    <a:pt x="1408026" y="780567"/>
                  </a:cubicBezTo>
                  <a:cubicBezTo>
                    <a:pt x="1408026" y="822037"/>
                    <a:pt x="1408413" y="846648"/>
                    <a:pt x="1409188" y="854399"/>
                  </a:cubicBezTo>
                  <a:lnTo>
                    <a:pt x="1419653" y="1160195"/>
                  </a:lnTo>
                  <a:lnTo>
                    <a:pt x="1142962" y="1163683"/>
                  </a:lnTo>
                  <a:cubicBezTo>
                    <a:pt x="1138287" y="1159032"/>
                    <a:pt x="1135949" y="1145467"/>
                    <a:pt x="1135949" y="1122988"/>
                  </a:cubicBezTo>
                  <a:lnTo>
                    <a:pt x="1146414" y="799751"/>
                  </a:lnTo>
                  <a:lnTo>
                    <a:pt x="1006887" y="806728"/>
                  </a:lnTo>
                  <a:lnTo>
                    <a:pt x="1022003" y="1141591"/>
                  </a:lnTo>
                  <a:lnTo>
                    <a:pt x="745275" y="1145079"/>
                  </a:lnTo>
                  <a:cubicBezTo>
                    <a:pt x="740624" y="1140428"/>
                    <a:pt x="738299" y="1126088"/>
                    <a:pt x="738299" y="1102059"/>
                  </a:cubicBezTo>
                  <a:lnTo>
                    <a:pt x="747601" y="831145"/>
                  </a:lnTo>
                  <a:cubicBezTo>
                    <a:pt x="748376" y="777660"/>
                    <a:pt x="748957" y="729213"/>
                    <a:pt x="749345" y="685805"/>
                  </a:cubicBezTo>
                  <a:cubicBezTo>
                    <a:pt x="749732" y="642397"/>
                    <a:pt x="749926" y="603252"/>
                    <a:pt x="749926" y="568370"/>
                  </a:cubicBezTo>
                  <a:close/>
                  <a:moveTo>
                    <a:pt x="642984" y="280016"/>
                  </a:moveTo>
                  <a:lnTo>
                    <a:pt x="660425" y="281178"/>
                  </a:lnTo>
                  <a:cubicBezTo>
                    <a:pt x="659649" y="285054"/>
                    <a:pt x="659262" y="290868"/>
                    <a:pt x="659262" y="298619"/>
                  </a:cubicBezTo>
                  <a:cubicBezTo>
                    <a:pt x="659262" y="306371"/>
                    <a:pt x="659262" y="316447"/>
                    <a:pt x="659262" y="328850"/>
                  </a:cubicBezTo>
                  <a:lnTo>
                    <a:pt x="663913" y="516048"/>
                  </a:lnTo>
                  <a:cubicBezTo>
                    <a:pt x="663913" y="586586"/>
                    <a:pt x="644922" y="634645"/>
                    <a:pt x="606940" y="660225"/>
                  </a:cubicBezTo>
                  <a:cubicBezTo>
                    <a:pt x="601514" y="664101"/>
                    <a:pt x="595506" y="667395"/>
                    <a:pt x="588917" y="670108"/>
                  </a:cubicBezTo>
                  <a:cubicBezTo>
                    <a:pt x="582329" y="672821"/>
                    <a:pt x="575159" y="674953"/>
                    <a:pt x="567407" y="676503"/>
                  </a:cubicBezTo>
                  <a:cubicBezTo>
                    <a:pt x="555780" y="678829"/>
                    <a:pt x="549966" y="680379"/>
                    <a:pt x="549966" y="681154"/>
                  </a:cubicBezTo>
                  <a:cubicBezTo>
                    <a:pt x="579931" y="691231"/>
                    <a:pt x="608357" y="715648"/>
                    <a:pt x="635245" y="754405"/>
                  </a:cubicBezTo>
                  <a:cubicBezTo>
                    <a:pt x="665984" y="797814"/>
                    <a:pt x="681354" y="875328"/>
                    <a:pt x="681354" y="986949"/>
                  </a:cubicBezTo>
                  <a:lnTo>
                    <a:pt x="680191" y="1047411"/>
                  </a:lnTo>
                  <a:cubicBezTo>
                    <a:pt x="680191" y="1076866"/>
                    <a:pt x="681354" y="1104772"/>
                    <a:pt x="683679" y="1131127"/>
                  </a:cubicBezTo>
                  <a:cubicBezTo>
                    <a:pt x="684454" y="1144304"/>
                    <a:pt x="685036" y="1153800"/>
                    <a:pt x="685423" y="1159613"/>
                  </a:cubicBezTo>
                  <a:lnTo>
                    <a:pt x="685849" y="1165156"/>
                  </a:lnTo>
                  <a:lnTo>
                    <a:pt x="684842" y="1167171"/>
                  </a:lnTo>
                  <a:cubicBezTo>
                    <a:pt x="684067" y="1170271"/>
                    <a:pt x="665160" y="1171822"/>
                    <a:pt x="628123" y="1171822"/>
                  </a:cubicBezTo>
                  <a:cubicBezTo>
                    <a:pt x="606516" y="1171822"/>
                    <a:pt x="589151" y="1171822"/>
                    <a:pt x="576028" y="1171822"/>
                  </a:cubicBezTo>
                  <a:cubicBezTo>
                    <a:pt x="562905" y="1171822"/>
                    <a:pt x="553261" y="1172209"/>
                    <a:pt x="547096" y="1172984"/>
                  </a:cubicBezTo>
                  <a:cubicBezTo>
                    <a:pt x="534742" y="1172984"/>
                    <a:pt x="523935" y="1172984"/>
                    <a:pt x="514676" y="1172984"/>
                  </a:cubicBezTo>
                  <a:cubicBezTo>
                    <a:pt x="505417" y="1172984"/>
                    <a:pt x="497699" y="1173372"/>
                    <a:pt x="491521" y="1174147"/>
                  </a:cubicBezTo>
                  <a:cubicBezTo>
                    <a:pt x="487670" y="1174922"/>
                    <a:pt x="483234" y="1175310"/>
                    <a:pt x="478214" y="1175310"/>
                  </a:cubicBezTo>
                  <a:cubicBezTo>
                    <a:pt x="473194" y="1175310"/>
                    <a:pt x="466826" y="1175310"/>
                    <a:pt x="459111" y="1175310"/>
                  </a:cubicBezTo>
                  <a:lnTo>
                    <a:pt x="419742" y="1176473"/>
                  </a:lnTo>
                  <a:lnTo>
                    <a:pt x="423230" y="1048573"/>
                  </a:lnTo>
                  <a:cubicBezTo>
                    <a:pt x="423230" y="1003615"/>
                    <a:pt x="419742" y="959432"/>
                    <a:pt x="412766" y="916023"/>
                  </a:cubicBezTo>
                  <a:cubicBezTo>
                    <a:pt x="405789" y="874165"/>
                    <a:pt x="396487" y="846260"/>
                    <a:pt x="384860" y="832308"/>
                  </a:cubicBezTo>
                  <a:cubicBezTo>
                    <a:pt x="367807" y="810603"/>
                    <a:pt x="344940" y="799751"/>
                    <a:pt x="316260" y="799751"/>
                  </a:cubicBezTo>
                  <a:lnTo>
                    <a:pt x="297656" y="802077"/>
                  </a:lnTo>
                  <a:cubicBezTo>
                    <a:pt x="288354" y="805953"/>
                    <a:pt x="283703" y="821843"/>
                    <a:pt x="283703" y="849748"/>
                  </a:cubicBezTo>
                  <a:cubicBezTo>
                    <a:pt x="283703" y="891606"/>
                    <a:pt x="284866" y="940828"/>
                    <a:pt x="287192" y="997414"/>
                  </a:cubicBezTo>
                  <a:lnTo>
                    <a:pt x="293005" y="1145079"/>
                  </a:lnTo>
                  <a:lnTo>
                    <a:pt x="0" y="1156706"/>
                  </a:lnTo>
                  <a:lnTo>
                    <a:pt x="3488" y="293968"/>
                  </a:lnTo>
                  <a:cubicBezTo>
                    <a:pt x="3488" y="290093"/>
                    <a:pt x="59299" y="288155"/>
                    <a:pt x="170920" y="288155"/>
                  </a:cubicBezTo>
                  <a:lnTo>
                    <a:pt x="260449" y="290480"/>
                  </a:lnTo>
                  <a:lnTo>
                    <a:pt x="277890" y="605577"/>
                  </a:lnTo>
                  <a:cubicBezTo>
                    <a:pt x="283316" y="607903"/>
                    <a:pt x="289130" y="609065"/>
                    <a:pt x="295331" y="609065"/>
                  </a:cubicBezTo>
                  <a:cubicBezTo>
                    <a:pt x="365094" y="609065"/>
                    <a:pt x="399976" y="562944"/>
                    <a:pt x="399976" y="470702"/>
                  </a:cubicBezTo>
                  <a:lnTo>
                    <a:pt x="397650" y="288155"/>
                  </a:lnTo>
                  <a:lnTo>
                    <a:pt x="426718" y="288155"/>
                  </a:lnTo>
                  <a:cubicBezTo>
                    <a:pt x="440671" y="288155"/>
                    <a:pt x="456949" y="287767"/>
                    <a:pt x="475552" y="286992"/>
                  </a:cubicBezTo>
                  <a:cubicBezTo>
                    <a:pt x="494156" y="286217"/>
                    <a:pt x="515085" y="285054"/>
                    <a:pt x="538339" y="283504"/>
                  </a:cubicBezTo>
                  <a:cubicBezTo>
                    <a:pt x="590274" y="281178"/>
                    <a:pt x="625155" y="280016"/>
                    <a:pt x="642984" y="280016"/>
                  </a:cubicBezTo>
                  <a:close/>
                  <a:moveTo>
                    <a:pt x="4316406" y="270714"/>
                  </a:moveTo>
                  <a:cubicBezTo>
                    <a:pt x="4358264" y="270714"/>
                    <a:pt x="4398959" y="276527"/>
                    <a:pt x="4438492" y="288155"/>
                  </a:cubicBezTo>
                  <a:cubicBezTo>
                    <a:pt x="4511356" y="312184"/>
                    <a:pt x="4568329" y="362569"/>
                    <a:pt x="4609412" y="439308"/>
                  </a:cubicBezTo>
                  <a:cubicBezTo>
                    <a:pt x="4650495" y="517598"/>
                    <a:pt x="4671036" y="604414"/>
                    <a:pt x="4671036" y="699758"/>
                  </a:cubicBezTo>
                  <a:cubicBezTo>
                    <a:pt x="4671036" y="829207"/>
                    <a:pt x="4637317" y="938503"/>
                    <a:pt x="4569879" y="1027644"/>
                  </a:cubicBezTo>
                  <a:cubicBezTo>
                    <a:pt x="4491589" y="1129964"/>
                    <a:pt x="4385782" y="1181123"/>
                    <a:pt x="4252457" y="1181123"/>
                  </a:cubicBezTo>
                  <a:cubicBezTo>
                    <a:pt x="4136960" y="1181123"/>
                    <a:pt x="4046268" y="1147405"/>
                    <a:pt x="3980380" y="1079967"/>
                  </a:cubicBezTo>
                  <a:cubicBezTo>
                    <a:pt x="3913718" y="1011754"/>
                    <a:pt x="3878836" y="916411"/>
                    <a:pt x="3875735" y="793938"/>
                  </a:cubicBezTo>
                  <a:cubicBezTo>
                    <a:pt x="3874960" y="790062"/>
                    <a:pt x="3874573" y="778435"/>
                    <a:pt x="3874573" y="759056"/>
                  </a:cubicBezTo>
                  <a:cubicBezTo>
                    <a:pt x="3874573" y="609453"/>
                    <a:pt x="3909454" y="494344"/>
                    <a:pt x="3979217" y="413728"/>
                  </a:cubicBezTo>
                  <a:cubicBezTo>
                    <a:pt x="4009448" y="378072"/>
                    <a:pt x="4044718" y="349391"/>
                    <a:pt x="4085025" y="327687"/>
                  </a:cubicBezTo>
                  <a:cubicBezTo>
                    <a:pt x="4153238" y="289705"/>
                    <a:pt x="4230365" y="270714"/>
                    <a:pt x="4316406" y="270714"/>
                  </a:cubicBezTo>
                  <a:close/>
                  <a:moveTo>
                    <a:pt x="5986053" y="261412"/>
                  </a:moveTo>
                  <a:lnTo>
                    <a:pt x="5988378" y="261412"/>
                  </a:lnTo>
                  <a:cubicBezTo>
                    <a:pt x="5996905" y="261412"/>
                    <a:pt x="6007951" y="262187"/>
                    <a:pt x="6021516" y="263738"/>
                  </a:cubicBezTo>
                  <a:cubicBezTo>
                    <a:pt x="6035081" y="265288"/>
                    <a:pt x="6050778" y="267613"/>
                    <a:pt x="6068606" y="270714"/>
                  </a:cubicBezTo>
                  <a:cubicBezTo>
                    <a:pt x="6078683" y="272264"/>
                    <a:pt x="6089341" y="274783"/>
                    <a:pt x="6100581" y="278272"/>
                  </a:cubicBezTo>
                  <a:cubicBezTo>
                    <a:pt x="6111821" y="281760"/>
                    <a:pt x="6123642" y="286604"/>
                    <a:pt x="6136044" y="292806"/>
                  </a:cubicBezTo>
                  <a:cubicBezTo>
                    <a:pt x="6229061" y="337764"/>
                    <a:pt x="6281771" y="410240"/>
                    <a:pt x="6294174" y="510234"/>
                  </a:cubicBezTo>
                  <a:cubicBezTo>
                    <a:pt x="6297274" y="528838"/>
                    <a:pt x="6299406" y="544728"/>
                    <a:pt x="6300568" y="557906"/>
                  </a:cubicBezTo>
                  <a:cubicBezTo>
                    <a:pt x="6301731" y="571083"/>
                    <a:pt x="6302312" y="581935"/>
                    <a:pt x="6302312" y="590462"/>
                  </a:cubicBezTo>
                  <a:lnTo>
                    <a:pt x="6203481" y="599764"/>
                  </a:lnTo>
                  <a:lnTo>
                    <a:pt x="6050002" y="611391"/>
                  </a:lnTo>
                  <a:lnTo>
                    <a:pt x="6050002" y="592787"/>
                  </a:lnTo>
                  <a:cubicBezTo>
                    <a:pt x="6050002" y="573409"/>
                    <a:pt x="6041863" y="557131"/>
                    <a:pt x="6025585" y="543953"/>
                  </a:cubicBezTo>
                  <a:cubicBezTo>
                    <a:pt x="6008532" y="530776"/>
                    <a:pt x="5989154" y="524187"/>
                    <a:pt x="5967449" y="524187"/>
                  </a:cubicBezTo>
                  <a:cubicBezTo>
                    <a:pt x="5922491" y="524187"/>
                    <a:pt x="5886447" y="549379"/>
                    <a:pt x="5859316" y="599764"/>
                  </a:cubicBezTo>
                  <a:cubicBezTo>
                    <a:pt x="5835287" y="647823"/>
                    <a:pt x="5823272" y="701308"/>
                    <a:pt x="5823272" y="760219"/>
                  </a:cubicBezTo>
                  <a:cubicBezTo>
                    <a:pt x="5823272" y="840059"/>
                    <a:pt x="5842263" y="891606"/>
                    <a:pt x="5880245" y="914861"/>
                  </a:cubicBezTo>
                  <a:cubicBezTo>
                    <a:pt x="5897299" y="924938"/>
                    <a:pt x="5915515" y="929976"/>
                    <a:pt x="5934893" y="929976"/>
                  </a:cubicBezTo>
                  <a:cubicBezTo>
                    <a:pt x="5958148" y="929976"/>
                    <a:pt x="5978689" y="923000"/>
                    <a:pt x="5996517" y="909047"/>
                  </a:cubicBezTo>
                  <a:cubicBezTo>
                    <a:pt x="6013571" y="894319"/>
                    <a:pt x="6022097" y="876491"/>
                    <a:pt x="6022097" y="855562"/>
                  </a:cubicBezTo>
                  <a:lnTo>
                    <a:pt x="5939544" y="852074"/>
                  </a:lnTo>
                  <a:lnTo>
                    <a:pt x="5939544" y="790450"/>
                  </a:lnTo>
                  <a:cubicBezTo>
                    <a:pt x="5939544" y="749367"/>
                    <a:pt x="5942257" y="727275"/>
                    <a:pt x="5947683" y="724175"/>
                  </a:cubicBezTo>
                  <a:cubicBezTo>
                    <a:pt x="5952334" y="721074"/>
                    <a:pt x="6008920" y="718749"/>
                    <a:pt x="6117440" y="717198"/>
                  </a:cubicBezTo>
                  <a:lnTo>
                    <a:pt x="6281384" y="716036"/>
                  </a:lnTo>
                  <a:lnTo>
                    <a:pt x="6284872" y="748592"/>
                  </a:lnTo>
                  <a:lnTo>
                    <a:pt x="6284872" y="764870"/>
                  </a:lnTo>
                  <a:cubicBezTo>
                    <a:pt x="6284872" y="792775"/>
                    <a:pt x="6281384" y="826882"/>
                    <a:pt x="6274407" y="867189"/>
                  </a:cubicBezTo>
                  <a:cubicBezTo>
                    <a:pt x="6267431" y="909047"/>
                    <a:pt x="6259292" y="943541"/>
                    <a:pt x="6249990" y="970671"/>
                  </a:cubicBezTo>
                  <a:cubicBezTo>
                    <a:pt x="6228286" y="1032683"/>
                    <a:pt x="6187591" y="1080742"/>
                    <a:pt x="6127905" y="1114848"/>
                  </a:cubicBezTo>
                  <a:cubicBezTo>
                    <a:pt x="6068219" y="1149730"/>
                    <a:pt x="6001944" y="1167171"/>
                    <a:pt x="5929080" y="1167171"/>
                  </a:cubicBezTo>
                  <a:cubicBezTo>
                    <a:pt x="5840713" y="1167171"/>
                    <a:pt x="5762424" y="1141591"/>
                    <a:pt x="5694210" y="1090431"/>
                  </a:cubicBezTo>
                  <a:cubicBezTo>
                    <a:pt x="5624447" y="1038497"/>
                    <a:pt x="5582202" y="964470"/>
                    <a:pt x="5567474" y="868352"/>
                  </a:cubicBezTo>
                  <a:cubicBezTo>
                    <a:pt x="5565924" y="852074"/>
                    <a:pt x="5564567" y="836958"/>
                    <a:pt x="5563404" y="823006"/>
                  </a:cubicBezTo>
                  <a:cubicBezTo>
                    <a:pt x="5562242" y="809053"/>
                    <a:pt x="5561660" y="796651"/>
                    <a:pt x="5561660" y="785799"/>
                  </a:cubicBezTo>
                  <a:cubicBezTo>
                    <a:pt x="5561660" y="664876"/>
                    <a:pt x="5582589" y="562944"/>
                    <a:pt x="5624447" y="480003"/>
                  </a:cubicBezTo>
                  <a:cubicBezTo>
                    <a:pt x="5663980" y="402489"/>
                    <a:pt x="5718627" y="345515"/>
                    <a:pt x="5788391" y="309084"/>
                  </a:cubicBezTo>
                  <a:cubicBezTo>
                    <a:pt x="5800793" y="302882"/>
                    <a:pt x="5814358" y="297069"/>
                    <a:pt x="5829086" y="291643"/>
                  </a:cubicBezTo>
                  <a:cubicBezTo>
                    <a:pt x="5843814" y="286217"/>
                    <a:pt x="5859704" y="281178"/>
                    <a:pt x="5876757" y="276527"/>
                  </a:cubicBezTo>
                  <a:cubicBezTo>
                    <a:pt x="5917840" y="266451"/>
                    <a:pt x="5954272" y="261412"/>
                    <a:pt x="5986053" y="261412"/>
                  </a:cubicBezTo>
                  <a:close/>
                  <a:moveTo>
                    <a:pt x="2195159" y="191649"/>
                  </a:moveTo>
                  <a:lnTo>
                    <a:pt x="2219576" y="205602"/>
                  </a:lnTo>
                  <a:cubicBezTo>
                    <a:pt x="2300191" y="253661"/>
                    <a:pt x="2322670" y="312184"/>
                    <a:pt x="2287014" y="381172"/>
                  </a:cubicBezTo>
                  <a:lnTo>
                    <a:pt x="2284688" y="385823"/>
                  </a:lnTo>
                  <a:cubicBezTo>
                    <a:pt x="2268410" y="416054"/>
                    <a:pt x="2244380" y="436595"/>
                    <a:pt x="2212600" y="447447"/>
                  </a:cubicBezTo>
                  <a:cubicBezTo>
                    <a:pt x="2251357" y="523412"/>
                    <a:pt x="2270736" y="607515"/>
                    <a:pt x="2270736" y="699758"/>
                  </a:cubicBezTo>
                  <a:cubicBezTo>
                    <a:pt x="2270736" y="829207"/>
                    <a:pt x="2237017" y="938503"/>
                    <a:pt x="2169579" y="1027644"/>
                  </a:cubicBezTo>
                  <a:cubicBezTo>
                    <a:pt x="2091289" y="1129964"/>
                    <a:pt x="1985482" y="1181123"/>
                    <a:pt x="1852157" y="1181123"/>
                  </a:cubicBezTo>
                  <a:cubicBezTo>
                    <a:pt x="1736660" y="1181123"/>
                    <a:pt x="1645968" y="1147405"/>
                    <a:pt x="1580080" y="1079967"/>
                  </a:cubicBezTo>
                  <a:cubicBezTo>
                    <a:pt x="1513418" y="1011754"/>
                    <a:pt x="1478536" y="916411"/>
                    <a:pt x="1475435" y="793938"/>
                  </a:cubicBezTo>
                  <a:cubicBezTo>
                    <a:pt x="1474660" y="790062"/>
                    <a:pt x="1474273" y="778435"/>
                    <a:pt x="1474273" y="759056"/>
                  </a:cubicBezTo>
                  <a:cubicBezTo>
                    <a:pt x="1474273" y="609453"/>
                    <a:pt x="1509154" y="494344"/>
                    <a:pt x="1578918" y="413728"/>
                  </a:cubicBezTo>
                  <a:cubicBezTo>
                    <a:pt x="1609148" y="378072"/>
                    <a:pt x="1644417" y="349391"/>
                    <a:pt x="1684725" y="327687"/>
                  </a:cubicBezTo>
                  <a:cubicBezTo>
                    <a:pt x="1752938" y="289705"/>
                    <a:pt x="1830065" y="270714"/>
                    <a:pt x="1916106" y="270714"/>
                  </a:cubicBezTo>
                  <a:cubicBezTo>
                    <a:pt x="1957964" y="270714"/>
                    <a:pt x="1998659" y="276527"/>
                    <a:pt x="2038192" y="288155"/>
                  </a:cubicBezTo>
                  <a:cubicBezTo>
                    <a:pt x="2090902" y="305983"/>
                    <a:pt x="2134310" y="335826"/>
                    <a:pt x="2168416" y="377684"/>
                  </a:cubicBezTo>
                  <a:cubicBezTo>
                    <a:pt x="2185469" y="380785"/>
                    <a:pt x="2199034" y="374583"/>
                    <a:pt x="2209112" y="359081"/>
                  </a:cubicBezTo>
                  <a:lnTo>
                    <a:pt x="2210274" y="357918"/>
                  </a:lnTo>
                  <a:cubicBezTo>
                    <a:pt x="2218026" y="340865"/>
                    <a:pt x="2215700" y="324587"/>
                    <a:pt x="2203298" y="309084"/>
                  </a:cubicBezTo>
                  <a:cubicBezTo>
                    <a:pt x="2192446" y="297456"/>
                    <a:pt x="2175393" y="285442"/>
                    <a:pt x="2152138" y="273039"/>
                  </a:cubicBezTo>
                  <a:close/>
                  <a:moveTo>
                    <a:pt x="4176880" y="73051"/>
                  </a:moveTo>
                  <a:lnTo>
                    <a:pt x="4286176" y="76540"/>
                  </a:lnTo>
                  <a:lnTo>
                    <a:pt x="4401285" y="73051"/>
                  </a:lnTo>
                  <a:cubicBezTo>
                    <a:pt x="4404385" y="79277"/>
                    <a:pt x="4409424" y="89027"/>
                    <a:pt x="4416400" y="102301"/>
                  </a:cubicBezTo>
                  <a:cubicBezTo>
                    <a:pt x="4423376" y="115576"/>
                    <a:pt x="4433066" y="132356"/>
                    <a:pt x="4445468" y="152643"/>
                  </a:cubicBezTo>
                  <a:cubicBezTo>
                    <a:pt x="4466397" y="188554"/>
                    <a:pt x="4480738" y="215097"/>
                    <a:pt x="4488489" y="232271"/>
                  </a:cubicBezTo>
                  <a:lnTo>
                    <a:pt x="4486163" y="232271"/>
                  </a:lnTo>
                  <a:cubicBezTo>
                    <a:pt x="4479187" y="232271"/>
                    <a:pt x="4461359" y="234609"/>
                    <a:pt x="4432678" y="239284"/>
                  </a:cubicBezTo>
                  <a:cubicBezTo>
                    <a:pt x="4419501" y="240834"/>
                    <a:pt x="4405161" y="242391"/>
                    <a:pt x="4389658" y="243953"/>
                  </a:cubicBezTo>
                  <a:cubicBezTo>
                    <a:pt x="4374155" y="245516"/>
                    <a:pt x="4357877" y="246684"/>
                    <a:pt x="4340823" y="247459"/>
                  </a:cubicBezTo>
                  <a:cubicBezTo>
                    <a:pt x="4332297" y="234972"/>
                    <a:pt x="4323576" y="221316"/>
                    <a:pt x="4314662" y="206492"/>
                  </a:cubicBezTo>
                  <a:cubicBezTo>
                    <a:pt x="4305748" y="191667"/>
                    <a:pt x="4296640" y="175280"/>
                    <a:pt x="4287338" y="157330"/>
                  </a:cubicBezTo>
                  <a:lnTo>
                    <a:pt x="4226877" y="247459"/>
                  </a:lnTo>
                  <a:cubicBezTo>
                    <a:pt x="4214475" y="246684"/>
                    <a:pt x="4200522" y="246103"/>
                    <a:pt x="4185019" y="245715"/>
                  </a:cubicBezTo>
                  <a:cubicBezTo>
                    <a:pt x="4169516" y="245328"/>
                    <a:pt x="4152851" y="244746"/>
                    <a:pt x="4135022" y="243971"/>
                  </a:cubicBezTo>
                  <a:lnTo>
                    <a:pt x="4057120" y="241628"/>
                  </a:lnTo>
                  <a:cubicBezTo>
                    <a:pt x="4065647" y="228353"/>
                    <a:pt x="4075336" y="214107"/>
                    <a:pt x="4086188" y="198889"/>
                  </a:cubicBezTo>
                  <a:cubicBezTo>
                    <a:pt x="4097040" y="183670"/>
                    <a:pt x="4108667" y="168255"/>
                    <a:pt x="4121069" y="152643"/>
                  </a:cubicBezTo>
                  <a:cubicBezTo>
                    <a:pt x="4148975" y="115182"/>
                    <a:pt x="4167578" y="88651"/>
                    <a:pt x="4176880" y="73051"/>
                  </a:cubicBezTo>
                  <a:close/>
                  <a:moveTo>
                    <a:pt x="1966975" y="91"/>
                  </a:moveTo>
                  <a:cubicBezTo>
                    <a:pt x="1981897" y="-491"/>
                    <a:pt x="1995946" y="1738"/>
                    <a:pt x="2009124" y="6776"/>
                  </a:cubicBezTo>
                  <a:cubicBezTo>
                    <a:pt x="2033928" y="17628"/>
                    <a:pt x="2050982" y="35069"/>
                    <a:pt x="2060283" y="59099"/>
                  </a:cubicBezTo>
                  <a:cubicBezTo>
                    <a:pt x="2071911" y="87779"/>
                    <a:pt x="2069973" y="116847"/>
                    <a:pt x="2054470" y="146303"/>
                  </a:cubicBezTo>
                  <a:cubicBezTo>
                    <a:pt x="2037417" y="178859"/>
                    <a:pt x="2006798" y="204051"/>
                    <a:pt x="1962615" y="221880"/>
                  </a:cubicBezTo>
                  <a:lnTo>
                    <a:pt x="1921920" y="233507"/>
                  </a:lnTo>
                  <a:lnTo>
                    <a:pt x="1909130" y="203276"/>
                  </a:lnTo>
                  <a:cubicBezTo>
                    <a:pt x="1913781" y="202501"/>
                    <a:pt x="1921532" y="198044"/>
                    <a:pt x="1932384" y="189905"/>
                  </a:cubicBezTo>
                  <a:cubicBezTo>
                    <a:pt x="1943236" y="181766"/>
                    <a:pt x="1953701" y="171495"/>
                    <a:pt x="1963778" y="159093"/>
                  </a:cubicBezTo>
                  <a:cubicBezTo>
                    <a:pt x="1977730" y="141264"/>
                    <a:pt x="1980443" y="122273"/>
                    <a:pt x="1971917" y="102119"/>
                  </a:cubicBezTo>
                  <a:cubicBezTo>
                    <a:pt x="1964165" y="88167"/>
                    <a:pt x="1952732" y="80803"/>
                    <a:pt x="1937617" y="80028"/>
                  </a:cubicBezTo>
                  <a:cubicBezTo>
                    <a:pt x="1922501" y="79253"/>
                    <a:pt x="1909517" y="86229"/>
                    <a:pt x="1898665" y="100957"/>
                  </a:cubicBezTo>
                  <a:lnTo>
                    <a:pt x="1838204" y="64912"/>
                  </a:lnTo>
                  <a:cubicBezTo>
                    <a:pt x="1869985" y="37007"/>
                    <a:pt x="1897115" y="18791"/>
                    <a:pt x="1919594" y="10265"/>
                  </a:cubicBezTo>
                  <a:cubicBezTo>
                    <a:pt x="1936260" y="4063"/>
                    <a:pt x="1952053" y="672"/>
                    <a:pt x="1966975" y="91"/>
                  </a:cubicBezTo>
                  <a:close/>
                </a:path>
              </a:pathLst>
            </a:custGeom>
            <a:gradFill>
              <a:gsLst>
                <a:gs pos="100000">
                  <a:schemeClr val="accent5"/>
                </a:gs>
                <a:gs pos="0">
                  <a:schemeClr val="accent6">
                    <a:lumMod val="75000"/>
                  </a:schemeClr>
                </a:gs>
              </a:gsLst>
              <a:lin ang="5400000" scaled="1"/>
            </a:gra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9400" b="0" i="0" u="none" strike="noStrike" kern="1200" cap="none" spc="300" normalizeH="0" baseline="0" noProof="0">
                <a:ln>
                  <a:noFill/>
                </a:ln>
                <a:gradFill>
                  <a:gsLst>
                    <a:gs pos="100000">
                      <a:srgbClr val="FC6E51"/>
                    </a:gs>
                    <a:gs pos="0">
                      <a:srgbClr val="ED5565">
                        <a:lumMod val="75000"/>
                      </a:srgbClr>
                    </a:gs>
                  </a:gsLst>
                  <a:lin ang="5400000" scaled="1"/>
                </a:gradFill>
                <a:effectLst/>
                <a:uLnTx/>
                <a:uFillTx/>
                <a:latin typeface="#9Slide07 Crocante" panose="02000000000000000000" pitchFamily="2" charset="0"/>
                <a:ea typeface="+mn-ea"/>
                <a:cs typeface="+mn-cs"/>
              </a:endParaRPr>
            </a:p>
          </p:txBody>
        </p:sp>
      </p:grpSp>
    </p:spTree>
    <p:custDataLst>
      <p:tags r:id="rId1"/>
    </p:custDataLst>
    <p:extLst>
      <p:ext uri="{BB962C8B-B14F-4D97-AF65-F5344CB8AC3E}">
        <p14:creationId xmlns:p14="http://schemas.microsoft.com/office/powerpoint/2010/main" val="3109994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 calcmode="lin" valueType="num">
                                      <p:cBhvr>
                                        <p:cTn id="9" dur="500" fill="hold"/>
                                        <p:tgtEl>
                                          <p:spTgt spid="13"/>
                                        </p:tgtEl>
                                        <p:attrNameLst>
                                          <p:attrName>style.rotation</p:attrName>
                                        </p:attrNameLst>
                                      </p:cBhvr>
                                      <p:tavLst>
                                        <p:tav tm="0">
                                          <p:val>
                                            <p:fltVal val="90"/>
                                          </p:val>
                                        </p:tav>
                                        <p:tav tm="100000">
                                          <p:val>
                                            <p:fltVal val="0"/>
                                          </p:val>
                                        </p:tav>
                                      </p:tavLst>
                                    </p:anim>
                                    <p:animEffect transition="in" filter="fade">
                                      <p:cBhvr>
                                        <p:cTn id="10" dur="500"/>
                                        <p:tgtEl>
                                          <p:spTgt spid="13"/>
                                        </p:tgtEl>
                                      </p:cBhvr>
                                    </p:animEffect>
                                  </p:childTnLst>
                                </p:cTn>
                              </p:par>
                              <p:par>
                                <p:cTn id="11" presetID="32" presetClass="emph" presetSubtype="0" fill="hold" nodeType="withEffect">
                                  <p:stCondLst>
                                    <p:cond delay="250"/>
                                  </p:stCondLst>
                                  <p:childTnLst>
                                    <p:animRot by="120000">
                                      <p:cBhvr>
                                        <p:cTn id="12" dur="75" fill="hold">
                                          <p:stCondLst>
                                            <p:cond delay="0"/>
                                          </p:stCondLst>
                                        </p:cTn>
                                        <p:tgtEl>
                                          <p:spTgt spid="13"/>
                                        </p:tgtEl>
                                        <p:attrNameLst>
                                          <p:attrName>r</p:attrName>
                                        </p:attrNameLst>
                                      </p:cBhvr>
                                    </p:animRot>
                                    <p:animRot by="-240000">
                                      <p:cBhvr>
                                        <p:cTn id="13" dur="150" fill="hold">
                                          <p:stCondLst>
                                            <p:cond delay="150"/>
                                          </p:stCondLst>
                                        </p:cTn>
                                        <p:tgtEl>
                                          <p:spTgt spid="13"/>
                                        </p:tgtEl>
                                        <p:attrNameLst>
                                          <p:attrName>r</p:attrName>
                                        </p:attrNameLst>
                                      </p:cBhvr>
                                    </p:animRot>
                                    <p:animRot by="240000">
                                      <p:cBhvr>
                                        <p:cTn id="14" dur="150" fill="hold">
                                          <p:stCondLst>
                                            <p:cond delay="300"/>
                                          </p:stCondLst>
                                        </p:cTn>
                                        <p:tgtEl>
                                          <p:spTgt spid="13"/>
                                        </p:tgtEl>
                                        <p:attrNameLst>
                                          <p:attrName>r</p:attrName>
                                        </p:attrNameLst>
                                      </p:cBhvr>
                                    </p:animRot>
                                    <p:animRot by="-240000">
                                      <p:cBhvr>
                                        <p:cTn id="15" dur="150" fill="hold">
                                          <p:stCondLst>
                                            <p:cond delay="450"/>
                                          </p:stCondLst>
                                        </p:cTn>
                                        <p:tgtEl>
                                          <p:spTgt spid="13"/>
                                        </p:tgtEl>
                                        <p:attrNameLst>
                                          <p:attrName>r</p:attrName>
                                        </p:attrNameLst>
                                      </p:cBhvr>
                                    </p:animRot>
                                    <p:animRot by="120000">
                                      <p:cBhvr>
                                        <p:cTn id="16" dur="150" fill="hold">
                                          <p:stCondLst>
                                            <p:cond delay="600"/>
                                          </p:stCondLst>
                                        </p:cTn>
                                        <p:tgtEl>
                                          <p:spTgt spid="1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Đi học thật là vui - Nhạc thiếu nhi - Chuồn Chuồn TV">
            <a:hlinkClick r:id="" action="ppaction://media"/>
            <a:extLst>
              <a:ext uri="{FF2B5EF4-FFF2-40B4-BE49-F238E27FC236}">
                <a16:creationId xmlns:a16="http://schemas.microsoft.com/office/drawing/2014/main" id="{ECF01C2D-248E-D230-44CC-A9FF406707A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311493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2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65CF075-5897-EF6E-7FE1-23FF99B111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68200" cy="6858000"/>
          </a:xfrm>
          <a:prstGeom prst="rect">
            <a:avLst/>
          </a:prstGeom>
        </p:spPr>
      </p:pic>
      <p:pic>
        <p:nvPicPr>
          <p:cNvPr id="8" name="Picture 7">
            <a:extLst>
              <a:ext uri="{FF2B5EF4-FFF2-40B4-BE49-F238E27FC236}">
                <a16:creationId xmlns:a16="http://schemas.microsoft.com/office/drawing/2014/main" id="{C7829FA6-D74C-8BA2-C347-AB70A9B80A71}"/>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r="66250"/>
          <a:stretch/>
        </p:blipFill>
        <p:spPr>
          <a:xfrm>
            <a:off x="162282" y="1752600"/>
            <a:ext cx="3952517" cy="5330702"/>
          </a:xfrm>
          <a:prstGeom prst="rect">
            <a:avLst/>
          </a:prstGeom>
        </p:spPr>
      </p:pic>
      <p:pic>
        <p:nvPicPr>
          <p:cNvPr id="9" name="Picture 8">
            <a:extLst>
              <a:ext uri="{FF2B5EF4-FFF2-40B4-BE49-F238E27FC236}">
                <a16:creationId xmlns:a16="http://schemas.microsoft.com/office/drawing/2014/main" id="{3ED39DEF-02E6-0B2A-AD6D-FAC5015EBE89}"/>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67018" r="-768"/>
          <a:stretch/>
        </p:blipFill>
        <p:spPr>
          <a:xfrm>
            <a:off x="8103974" y="1752600"/>
            <a:ext cx="3952517" cy="5330702"/>
          </a:xfrm>
          <a:prstGeom prst="rect">
            <a:avLst/>
          </a:prstGeom>
        </p:spPr>
      </p:pic>
      <p:pic>
        <p:nvPicPr>
          <p:cNvPr id="6" name="Picture 5">
            <a:extLst>
              <a:ext uri="{FF2B5EF4-FFF2-40B4-BE49-F238E27FC236}">
                <a16:creationId xmlns:a16="http://schemas.microsoft.com/office/drawing/2014/main" id="{11EED398-3D20-C86C-EB50-98F8C5F898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318163"/>
            <a:ext cx="12268200" cy="2539837"/>
          </a:xfrm>
          <a:prstGeom prst="rect">
            <a:avLst/>
          </a:prstGeom>
        </p:spPr>
      </p:pic>
      <p:pic>
        <p:nvPicPr>
          <p:cNvPr id="18" name="Picture 17">
            <a:extLst>
              <a:ext uri="{FF2B5EF4-FFF2-40B4-BE49-F238E27FC236}">
                <a16:creationId xmlns:a16="http://schemas.microsoft.com/office/drawing/2014/main" id="{7636F6BC-7796-4265-4C21-8524D912AEF6}"/>
              </a:ext>
            </a:extLst>
          </p:cNvPr>
          <p:cNvPicPr>
            <a:picLocks noChangeAspect="1"/>
          </p:cNvPicPr>
          <p:nvPr/>
        </p:nvPicPr>
        <p:blipFill>
          <a:blip r:embed="rId5"/>
          <a:stretch>
            <a:fillRect/>
          </a:stretch>
        </p:blipFill>
        <p:spPr>
          <a:xfrm>
            <a:off x="10945034" y="0"/>
            <a:ext cx="1249788" cy="499915"/>
          </a:xfrm>
          <a:prstGeom prst="rect">
            <a:avLst/>
          </a:prstGeom>
        </p:spPr>
      </p:pic>
      <p:pic>
        <p:nvPicPr>
          <p:cNvPr id="19" name="Picture 18">
            <a:extLst>
              <a:ext uri="{FF2B5EF4-FFF2-40B4-BE49-F238E27FC236}">
                <a16:creationId xmlns:a16="http://schemas.microsoft.com/office/drawing/2014/main" id="{53C8A24F-2711-7485-E3D3-C3D7912E29E7}"/>
              </a:ext>
            </a:extLst>
          </p:cNvPr>
          <p:cNvPicPr>
            <a:picLocks noChangeAspect="1"/>
          </p:cNvPicPr>
          <p:nvPr/>
        </p:nvPicPr>
        <p:blipFill>
          <a:blip r:embed="rId6"/>
          <a:stretch>
            <a:fillRect/>
          </a:stretch>
        </p:blipFill>
        <p:spPr>
          <a:xfrm>
            <a:off x="99066" y="6341520"/>
            <a:ext cx="1450974" cy="499915"/>
          </a:xfrm>
          <a:prstGeom prst="rect">
            <a:avLst/>
          </a:prstGeom>
        </p:spPr>
      </p:pic>
      <p:pic>
        <p:nvPicPr>
          <p:cNvPr id="20" name="Picture 19">
            <a:extLst>
              <a:ext uri="{FF2B5EF4-FFF2-40B4-BE49-F238E27FC236}">
                <a16:creationId xmlns:a16="http://schemas.microsoft.com/office/drawing/2014/main" id="{9E3B7330-8F43-3B52-D518-93399220C3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89" y="-148320"/>
            <a:ext cx="1538269" cy="1538268"/>
          </a:xfrm>
          <a:prstGeom prst="rect">
            <a:avLst/>
          </a:prstGeom>
        </p:spPr>
      </p:pic>
      <p:pic>
        <p:nvPicPr>
          <p:cNvPr id="21" name="Picture 20">
            <a:extLst>
              <a:ext uri="{FF2B5EF4-FFF2-40B4-BE49-F238E27FC236}">
                <a16:creationId xmlns:a16="http://schemas.microsoft.com/office/drawing/2014/main" id="{A4352FA7-BD4B-0561-9BAF-3E8A1F36232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30677" y="5845925"/>
            <a:ext cx="961323" cy="991190"/>
          </a:xfrm>
          <a:prstGeom prst="rect">
            <a:avLst/>
          </a:prstGeom>
        </p:spPr>
      </p:pic>
      <p:pic>
        <p:nvPicPr>
          <p:cNvPr id="23" name="Picture 22">
            <a:extLst>
              <a:ext uri="{FF2B5EF4-FFF2-40B4-BE49-F238E27FC236}">
                <a16:creationId xmlns:a16="http://schemas.microsoft.com/office/drawing/2014/main" id="{F006F4AF-1C2E-6289-6FCD-197B11870DC5}"/>
              </a:ext>
            </a:extLst>
          </p:cNvPr>
          <p:cNvPicPr>
            <a:picLocks noChangeAspect="1"/>
          </p:cNvPicPr>
          <p:nvPr/>
        </p:nvPicPr>
        <p:blipFill>
          <a:blip r:embed="rId9"/>
          <a:stretch>
            <a:fillRect/>
          </a:stretch>
        </p:blipFill>
        <p:spPr>
          <a:xfrm>
            <a:off x="1770822" y="746764"/>
            <a:ext cx="8498561" cy="1286367"/>
          </a:xfrm>
          <a:prstGeom prst="rect">
            <a:avLst/>
          </a:prstGeom>
        </p:spPr>
      </p:pic>
      <p:pic>
        <p:nvPicPr>
          <p:cNvPr id="24" name="Picture 23">
            <a:extLst>
              <a:ext uri="{FF2B5EF4-FFF2-40B4-BE49-F238E27FC236}">
                <a16:creationId xmlns:a16="http://schemas.microsoft.com/office/drawing/2014/main" id="{4512DC7D-9F98-182C-B8E9-7566F9AC0838}"/>
              </a:ext>
            </a:extLst>
          </p:cNvPr>
          <p:cNvPicPr>
            <a:picLocks noChangeAspect="1"/>
          </p:cNvPicPr>
          <p:nvPr/>
        </p:nvPicPr>
        <p:blipFill>
          <a:blip r:embed="rId10"/>
          <a:stretch>
            <a:fillRect/>
          </a:stretch>
        </p:blipFill>
        <p:spPr>
          <a:xfrm>
            <a:off x="2862178" y="1814243"/>
            <a:ext cx="6315851" cy="2178862"/>
          </a:xfrm>
          <a:prstGeom prst="rect">
            <a:avLst/>
          </a:prstGeom>
        </p:spPr>
      </p:pic>
      <p:pic>
        <p:nvPicPr>
          <p:cNvPr id="25" name="Picture 24">
            <a:extLst>
              <a:ext uri="{FF2B5EF4-FFF2-40B4-BE49-F238E27FC236}">
                <a16:creationId xmlns:a16="http://schemas.microsoft.com/office/drawing/2014/main" id="{36A70A3F-085E-7C12-0071-EEEFDB9C7C95}"/>
              </a:ext>
            </a:extLst>
          </p:cNvPr>
          <p:cNvPicPr>
            <a:picLocks noChangeAspect="1"/>
          </p:cNvPicPr>
          <p:nvPr/>
        </p:nvPicPr>
        <p:blipFill>
          <a:blip r:embed="rId11"/>
          <a:srcRect l="14433" t="12962" r="12232" b="28705"/>
          <a:stretch/>
        </p:blipFill>
        <p:spPr>
          <a:xfrm>
            <a:off x="3947824" y="3993105"/>
            <a:ext cx="3531973" cy="1852820"/>
          </a:xfrm>
          <a:prstGeom prst="rect">
            <a:avLst/>
          </a:prstGeom>
        </p:spPr>
      </p:pic>
    </p:spTree>
    <p:extLst>
      <p:ext uri="{BB962C8B-B14F-4D97-AF65-F5344CB8AC3E}">
        <p14:creationId xmlns:p14="http://schemas.microsoft.com/office/powerpoint/2010/main" val="163899629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75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14:bounceEnd="50000">
                                          <p:cBhvr additive="base">
                                            <p:cTn id="11" dur="75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id="12" dur="7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barn(inVertical)">
                                          <p:cBhvr>
                                            <p:cTn id="17" dur="500"/>
                                            <p:tgtEl>
                                              <p:spTgt spid="23"/>
                                            </p:tgtEl>
                                          </p:cBhvr>
                                        </p:animEffect>
                                      </p:childTnLst>
                                    </p:cTn>
                                  </p:par>
                                </p:childTnLst>
                              </p:cTn>
                            </p:par>
                            <p:par>
                              <p:cTn id="18" fill="hold">
                                <p:stCondLst>
                                  <p:cond delay="500"/>
                                </p:stCondLst>
                                <p:childTnLst>
                                  <p:par>
                                    <p:cTn id="19" presetID="16" presetClass="entr" presetSubtype="21"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arn(inVertical)">
                                          <p:cBhvr>
                                            <p:cTn id="21" dur="500"/>
                                            <p:tgtEl>
                                              <p:spTgt spid="24"/>
                                            </p:tgtEl>
                                          </p:cBhvr>
                                        </p:animEffect>
                                      </p:childTnLst>
                                    </p:cTn>
                                  </p:par>
                                </p:childTnLst>
                              </p:cTn>
                            </p:par>
                            <p:par>
                              <p:cTn id="22" fill="hold">
                                <p:stCondLst>
                                  <p:cond delay="1000"/>
                                </p:stCondLst>
                                <p:childTnLst>
                                  <p:par>
                                    <p:cTn id="23" presetID="14" presetClass="entr" presetSubtype="1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randombar(horizontal)">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barn(inVertical)">
                                          <p:cBhvr>
                                            <p:cTn id="17" dur="500"/>
                                            <p:tgtEl>
                                              <p:spTgt spid="23"/>
                                            </p:tgtEl>
                                          </p:cBhvr>
                                        </p:animEffect>
                                      </p:childTnLst>
                                    </p:cTn>
                                  </p:par>
                                </p:childTnLst>
                              </p:cTn>
                            </p:par>
                            <p:par>
                              <p:cTn id="18" fill="hold">
                                <p:stCondLst>
                                  <p:cond delay="500"/>
                                </p:stCondLst>
                                <p:childTnLst>
                                  <p:par>
                                    <p:cTn id="19" presetID="16" presetClass="entr" presetSubtype="21"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arn(inVertical)">
                                          <p:cBhvr>
                                            <p:cTn id="21" dur="500"/>
                                            <p:tgtEl>
                                              <p:spTgt spid="24"/>
                                            </p:tgtEl>
                                          </p:cBhvr>
                                        </p:animEffect>
                                      </p:childTnLst>
                                    </p:cTn>
                                  </p:par>
                                </p:childTnLst>
                              </p:cTn>
                            </p:par>
                            <p:par>
                              <p:cTn id="22" fill="hold">
                                <p:stCondLst>
                                  <p:cond delay="1000"/>
                                </p:stCondLst>
                                <p:childTnLst>
                                  <p:par>
                                    <p:cTn id="23" presetID="14" presetClass="entr" presetSubtype="1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randombar(horizontal)">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743C24-624A-0CA6-2CB8-30E9EEE1F1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a:extLst>
              <a:ext uri="{FF2B5EF4-FFF2-40B4-BE49-F238E27FC236}">
                <a16:creationId xmlns:a16="http://schemas.microsoft.com/office/drawing/2014/main" id="{0AFA18BC-EAD2-FB71-D65C-833CD706E98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8600" y="5021836"/>
            <a:ext cx="13094191" cy="2791971"/>
          </a:xfrm>
          <a:prstGeom prst="rect">
            <a:avLst/>
          </a:prstGeom>
        </p:spPr>
      </p:pic>
      <p:pic>
        <p:nvPicPr>
          <p:cNvPr id="40" name="Picture 39">
            <a:extLst>
              <a:ext uri="{FF2B5EF4-FFF2-40B4-BE49-F238E27FC236}">
                <a16:creationId xmlns:a16="http://schemas.microsoft.com/office/drawing/2014/main" id="{3FFEF638-68FD-F371-75E0-107E92C6BA48}"/>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29411" t="77633" r="60033" b="-110"/>
          <a:stretch/>
        </p:blipFill>
        <p:spPr>
          <a:xfrm>
            <a:off x="49943" y="-228600"/>
            <a:ext cx="1409702" cy="1174750"/>
          </a:xfrm>
          <a:prstGeom prst="rect">
            <a:avLst/>
          </a:prstGeom>
        </p:spPr>
      </p:pic>
      <p:pic>
        <p:nvPicPr>
          <p:cNvPr id="41" name="Picture 40">
            <a:extLst>
              <a:ext uri="{FF2B5EF4-FFF2-40B4-BE49-F238E27FC236}">
                <a16:creationId xmlns:a16="http://schemas.microsoft.com/office/drawing/2014/main" id="{BC9D7BB4-6237-27C3-AA6B-96BBA1AECE3C}"/>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52780" t="81288" r="36664" b="-3765"/>
          <a:stretch/>
        </p:blipFill>
        <p:spPr>
          <a:xfrm flipH="1">
            <a:off x="10818337" y="47968"/>
            <a:ext cx="1409702" cy="1174750"/>
          </a:xfrm>
          <a:prstGeom prst="rect">
            <a:avLst/>
          </a:prstGeom>
        </p:spPr>
      </p:pic>
      <p:sp>
        <p:nvSpPr>
          <p:cNvPr id="4" name="Rectangle: Rounded Corners 3">
            <a:extLst>
              <a:ext uri="{FF2B5EF4-FFF2-40B4-BE49-F238E27FC236}">
                <a16:creationId xmlns:a16="http://schemas.microsoft.com/office/drawing/2014/main" id="{9F1192E9-8A9E-BE49-A17A-7B93949BF039}"/>
              </a:ext>
            </a:extLst>
          </p:cNvPr>
          <p:cNvSpPr/>
          <p:nvPr/>
        </p:nvSpPr>
        <p:spPr>
          <a:xfrm>
            <a:off x="228600" y="270168"/>
            <a:ext cx="11811000" cy="6539864"/>
          </a:xfrm>
          <a:custGeom>
            <a:avLst/>
            <a:gdLst>
              <a:gd name="connsiteX0" fmla="*/ 0 w 11811000"/>
              <a:gd name="connsiteY0" fmla="*/ 276309 h 6539864"/>
              <a:gd name="connsiteX1" fmla="*/ 276309 w 11811000"/>
              <a:gd name="connsiteY1" fmla="*/ 0 h 6539864"/>
              <a:gd name="connsiteX2" fmla="*/ 713399 w 11811000"/>
              <a:gd name="connsiteY2" fmla="*/ 0 h 6539864"/>
              <a:gd name="connsiteX3" fmla="*/ 1037905 w 11811000"/>
              <a:gd name="connsiteY3" fmla="*/ 0 h 6539864"/>
              <a:gd name="connsiteX4" fmla="*/ 1812747 w 11811000"/>
              <a:gd name="connsiteY4" fmla="*/ 0 h 6539864"/>
              <a:gd name="connsiteX5" fmla="*/ 2137253 w 11811000"/>
              <a:gd name="connsiteY5" fmla="*/ 0 h 6539864"/>
              <a:gd name="connsiteX6" fmla="*/ 2574343 w 11811000"/>
              <a:gd name="connsiteY6" fmla="*/ 0 h 6539864"/>
              <a:gd name="connsiteX7" fmla="*/ 3124017 w 11811000"/>
              <a:gd name="connsiteY7" fmla="*/ 0 h 6539864"/>
              <a:gd name="connsiteX8" fmla="*/ 3561108 w 11811000"/>
              <a:gd name="connsiteY8" fmla="*/ 0 h 6539864"/>
              <a:gd name="connsiteX9" fmla="*/ 4223365 w 11811000"/>
              <a:gd name="connsiteY9" fmla="*/ 0 h 6539864"/>
              <a:gd name="connsiteX10" fmla="*/ 4660455 w 11811000"/>
              <a:gd name="connsiteY10" fmla="*/ 0 h 6539864"/>
              <a:gd name="connsiteX11" fmla="*/ 4984962 w 11811000"/>
              <a:gd name="connsiteY11" fmla="*/ 0 h 6539864"/>
              <a:gd name="connsiteX12" fmla="*/ 5647219 w 11811000"/>
              <a:gd name="connsiteY12" fmla="*/ 0 h 6539864"/>
              <a:gd name="connsiteX13" fmla="*/ 6309477 w 11811000"/>
              <a:gd name="connsiteY13" fmla="*/ 0 h 6539864"/>
              <a:gd name="connsiteX14" fmla="*/ 6971735 w 11811000"/>
              <a:gd name="connsiteY14" fmla="*/ 0 h 6539864"/>
              <a:gd name="connsiteX15" fmla="*/ 7521409 w 11811000"/>
              <a:gd name="connsiteY15" fmla="*/ 0 h 6539864"/>
              <a:gd name="connsiteX16" fmla="*/ 8408834 w 11811000"/>
              <a:gd name="connsiteY16" fmla="*/ 0 h 6539864"/>
              <a:gd name="connsiteX17" fmla="*/ 8958508 w 11811000"/>
              <a:gd name="connsiteY17" fmla="*/ 0 h 6539864"/>
              <a:gd name="connsiteX18" fmla="*/ 9845934 w 11811000"/>
              <a:gd name="connsiteY18" fmla="*/ 0 h 6539864"/>
              <a:gd name="connsiteX19" fmla="*/ 10508191 w 11811000"/>
              <a:gd name="connsiteY19" fmla="*/ 0 h 6539864"/>
              <a:gd name="connsiteX20" fmla="*/ 11534691 w 11811000"/>
              <a:gd name="connsiteY20" fmla="*/ 0 h 6539864"/>
              <a:gd name="connsiteX21" fmla="*/ 11811000 w 11811000"/>
              <a:gd name="connsiteY21" fmla="*/ 276309 h 6539864"/>
              <a:gd name="connsiteX22" fmla="*/ 11811000 w 11811000"/>
              <a:gd name="connsiteY22" fmla="*/ 1001431 h 6539864"/>
              <a:gd name="connsiteX23" fmla="*/ 11811000 w 11811000"/>
              <a:gd name="connsiteY23" fmla="*/ 1546936 h 6539864"/>
              <a:gd name="connsiteX24" fmla="*/ 11811000 w 11811000"/>
              <a:gd name="connsiteY24" fmla="*/ 2212185 h 6539864"/>
              <a:gd name="connsiteX25" fmla="*/ 11811000 w 11811000"/>
              <a:gd name="connsiteY25" fmla="*/ 2997180 h 6539864"/>
              <a:gd name="connsiteX26" fmla="*/ 11811000 w 11811000"/>
              <a:gd name="connsiteY26" fmla="*/ 3482812 h 6539864"/>
              <a:gd name="connsiteX27" fmla="*/ 11811000 w 11811000"/>
              <a:gd name="connsiteY27" fmla="*/ 4028316 h 6539864"/>
              <a:gd name="connsiteX28" fmla="*/ 11811000 w 11811000"/>
              <a:gd name="connsiteY28" fmla="*/ 4693566 h 6539864"/>
              <a:gd name="connsiteX29" fmla="*/ 11811000 w 11811000"/>
              <a:gd name="connsiteY29" fmla="*/ 5179198 h 6539864"/>
              <a:gd name="connsiteX30" fmla="*/ 11811000 w 11811000"/>
              <a:gd name="connsiteY30" fmla="*/ 6263555 h 6539864"/>
              <a:gd name="connsiteX31" fmla="*/ 11534691 w 11811000"/>
              <a:gd name="connsiteY31" fmla="*/ 6539864 h 6539864"/>
              <a:gd name="connsiteX32" fmla="*/ 10647266 w 11811000"/>
              <a:gd name="connsiteY32" fmla="*/ 6539864 h 6539864"/>
              <a:gd name="connsiteX33" fmla="*/ 9985008 w 11811000"/>
              <a:gd name="connsiteY33" fmla="*/ 6539864 h 6539864"/>
              <a:gd name="connsiteX34" fmla="*/ 9435334 w 11811000"/>
              <a:gd name="connsiteY34" fmla="*/ 6539864 h 6539864"/>
              <a:gd name="connsiteX35" fmla="*/ 8998244 w 11811000"/>
              <a:gd name="connsiteY35" fmla="*/ 6539864 h 6539864"/>
              <a:gd name="connsiteX36" fmla="*/ 8448570 w 11811000"/>
              <a:gd name="connsiteY36" fmla="*/ 6539864 h 6539864"/>
              <a:gd name="connsiteX37" fmla="*/ 7673728 w 11811000"/>
              <a:gd name="connsiteY37" fmla="*/ 6539864 h 6539864"/>
              <a:gd name="connsiteX38" fmla="*/ 6898887 w 11811000"/>
              <a:gd name="connsiteY38" fmla="*/ 6539864 h 6539864"/>
              <a:gd name="connsiteX39" fmla="*/ 6574380 w 11811000"/>
              <a:gd name="connsiteY39" fmla="*/ 6539864 h 6539864"/>
              <a:gd name="connsiteX40" fmla="*/ 6024706 w 11811000"/>
              <a:gd name="connsiteY40" fmla="*/ 6539864 h 6539864"/>
              <a:gd name="connsiteX41" fmla="*/ 5475032 w 11811000"/>
              <a:gd name="connsiteY41" fmla="*/ 6539864 h 6539864"/>
              <a:gd name="connsiteX42" fmla="*/ 4812775 w 11811000"/>
              <a:gd name="connsiteY42" fmla="*/ 6539864 h 6539864"/>
              <a:gd name="connsiteX43" fmla="*/ 4263101 w 11811000"/>
              <a:gd name="connsiteY43" fmla="*/ 6539864 h 6539864"/>
              <a:gd name="connsiteX44" fmla="*/ 3375675 w 11811000"/>
              <a:gd name="connsiteY44" fmla="*/ 6539864 h 6539864"/>
              <a:gd name="connsiteX45" fmla="*/ 3051169 w 11811000"/>
              <a:gd name="connsiteY45" fmla="*/ 6539864 h 6539864"/>
              <a:gd name="connsiteX46" fmla="*/ 2388911 w 11811000"/>
              <a:gd name="connsiteY46" fmla="*/ 6539864 h 6539864"/>
              <a:gd name="connsiteX47" fmla="*/ 1614070 w 11811000"/>
              <a:gd name="connsiteY47" fmla="*/ 6539864 h 6539864"/>
              <a:gd name="connsiteX48" fmla="*/ 1064396 w 11811000"/>
              <a:gd name="connsiteY48" fmla="*/ 6539864 h 6539864"/>
              <a:gd name="connsiteX49" fmla="*/ 276309 w 11811000"/>
              <a:gd name="connsiteY49" fmla="*/ 6539864 h 6539864"/>
              <a:gd name="connsiteX50" fmla="*/ 0 w 11811000"/>
              <a:gd name="connsiteY50" fmla="*/ 6263555 h 6539864"/>
              <a:gd name="connsiteX51" fmla="*/ 0 w 11811000"/>
              <a:gd name="connsiteY51" fmla="*/ 5718050 h 6539864"/>
              <a:gd name="connsiteX52" fmla="*/ 0 w 11811000"/>
              <a:gd name="connsiteY52" fmla="*/ 4933056 h 6539864"/>
              <a:gd name="connsiteX53" fmla="*/ 0 w 11811000"/>
              <a:gd name="connsiteY53" fmla="*/ 4267806 h 6539864"/>
              <a:gd name="connsiteX54" fmla="*/ 0 w 11811000"/>
              <a:gd name="connsiteY54" fmla="*/ 3722302 h 6539864"/>
              <a:gd name="connsiteX55" fmla="*/ 0 w 11811000"/>
              <a:gd name="connsiteY55" fmla="*/ 3057052 h 6539864"/>
              <a:gd name="connsiteX56" fmla="*/ 0 w 11811000"/>
              <a:gd name="connsiteY56" fmla="*/ 2272058 h 6539864"/>
              <a:gd name="connsiteX57" fmla="*/ 0 w 11811000"/>
              <a:gd name="connsiteY57" fmla="*/ 1666681 h 6539864"/>
              <a:gd name="connsiteX58" fmla="*/ 0 w 11811000"/>
              <a:gd name="connsiteY58" fmla="*/ 1061303 h 6539864"/>
              <a:gd name="connsiteX59" fmla="*/ 0 w 11811000"/>
              <a:gd name="connsiteY59" fmla="*/ 276309 h 653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811000" h="6539864" fill="none" extrusionOk="0">
                <a:moveTo>
                  <a:pt x="0" y="276309"/>
                </a:moveTo>
                <a:cubicBezTo>
                  <a:pt x="7503" y="117353"/>
                  <a:pt x="120173" y="876"/>
                  <a:pt x="276309" y="0"/>
                </a:cubicBezTo>
                <a:cubicBezTo>
                  <a:pt x="390753" y="-13998"/>
                  <a:pt x="519303" y="7231"/>
                  <a:pt x="713399" y="0"/>
                </a:cubicBezTo>
                <a:cubicBezTo>
                  <a:pt x="907495" y="-7231"/>
                  <a:pt x="921623" y="-3982"/>
                  <a:pt x="1037905" y="0"/>
                </a:cubicBezTo>
                <a:cubicBezTo>
                  <a:pt x="1154187" y="3982"/>
                  <a:pt x="1628628" y="21970"/>
                  <a:pt x="1812747" y="0"/>
                </a:cubicBezTo>
                <a:cubicBezTo>
                  <a:pt x="1996866" y="-21970"/>
                  <a:pt x="2070800" y="10455"/>
                  <a:pt x="2137253" y="0"/>
                </a:cubicBezTo>
                <a:cubicBezTo>
                  <a:pt x="2203706" y="-10455"/>
                  <a:pt x="2459510" y="-21376"/>
                  <a:pt x="2574343" y="0"/>
                </a:cubicBezTo>
                <a:cubicBezTo>
                  <a:pt x="2689176" y="21376"/>
                  <a:pt x="2851821" y="-17883"/>
                  <a:pt x="3124017" y="0"/>
                </a:cubicBezTo>
                <a:cubicBezTo>
                  <a:pt x="3396213" y="17883"/>
                  <a:pt x="3378501" y="-9716"/>
                  <a:pt x="3561108" y="0"/>
                </a:cubicBezTo>
                <a:cubicBezTo>
                  <a:pt x="3743715" y="9716"/>
                  <a:pt x="3957040" y="-22614"/>
                  <a:pt x="4223365" y="0"/>
                </a:cubicBezTo>
                <a:cubicBezTo>
                  <a:pt x="4489690" y="22614"/>
                  <a:pt x="4482566" y="4443"/>
                  <a:pt x="4660455" y="0"/>
                </a:cubicBezTo>
                <a:cubicBezTo>
                  <a:pt x="4838344" y="-4443"/>
                  <a:pt x="4827198" y="13475"/>
                  <a:pt x="4984962" y="0"/>
                </a:cubicBezTo>
                <a:cubicBezTo>
                  <a:pt x="5142726" y="-13475"/>
                  <a:pt x="5408741" y="-32026"/>
                  <a:pt x="5647219" y="0"/>
                </a:cubicBezTo>
                <a:cubicBezTo>
                  <a:pt x="5885697" y="32026"/>
                  <a:pt x="6061324" y="16924"/>
                  <a:pt x="6309477" y="0"/>
                </a:cubicBezTo>
                <a:cubicBezTo>
                  <a:pt x="6557630" y="-16924"/>
                  <a:pt x="6731921" y="21199"/>
                  <a:pt x="6971735" y="0"/>
                </a:cubicBezTo>
                <a:cubicBezTo>
                  <a:pt x="7211549" y="-21199"/>
                  <a:pt x="7410709" y="-22981"/>
                  <a:pt x="7521409" y="0"/>
                </a:cubicBezTo>
                <a:cubicBezTo>
                  <a:pt x="7632109" y="22981"/>
                  <a:pt x="8183644" y="-36572"/>
                  <a:pt x="8408834" y="0"/>
                </a:cubicBezTo>
                <a:cubicBezTo>
                  <a:pt x="8634024" y="36572"/>
                  <a:pt x="8810731" y="464"/>
                  <a:pt x="8958508" y="0"/>
                </a:cubicBezTo>
                <a:cubicBezTo>
                  <a:pt x="9106285" y="-464"/>
                  <a:pt x="9554448" y="-657"/>
                  <a:pt x="9845934" y="0"/>
                </a:cubicBezTo>
                <a:cubicBezTo>
                  <a:pt x="10137420" y="657"/>
                  <a:pt x="10294741" y="3156"/>
                  <a:pt x="10508191" y="0"/>
                </a:cubicBezTo>
                <a:cubicBezTo>
                  <a:pt x="10721641" y="-3156"/>
                  <a:pt x="11169757" y="-23281"/>
                  <a:pt x="11534691" y="0"/>
                </a:cubicBezTo>
                <a:cubicBezTo>
                  <a:pt x="11686405" y="30281"/>
                  <a:pt x="11789483" y="102266"/>
                  <a:pt x="11811000" y="276309"/>
                </a:cubicBezTo>
                <a:cubicBezTo>
                  <a:pt x="11783989" y="629313"/>
                  <a:pt x="11803715" y="849248"/>
                  <a:pt x="11811000" y="1001431"/>
                </a:cubicBezTo>
                <a:cubicBezTo>
                  <a:pt x="11818285" y="1153614"/>
                  <a:pt x="11786666" y="1343496"/>
                  <a:pt x="11811000" y="1546936"/>
                </a:cubicBezTo>
                <a:cubicBezTo>
                  <a:pt x="11835334" y="1750377"/>
                  <a:pt x="11830199" y="1918680"/>
                  <a:pt x="11811000" y="2212185"/>
                </a:cubicBezTo>
                <a:cubicBezTo>
                  <a:pt x="11791801" y="2505690"/>
                  <a:pt x="11778524" y="2743617"/>
                  <a:pt x="11811000" y="2997180"/>
                </a:cubicBezTo>
                <a:cubicBezTo>
                  <a:pt x="11843476" y="3250743"/>
                  <a:pt x="11802263" y="3243832"/>
                  <a:pt x="11811000" y="3482812"/>
                </a:cubicBezTo>
                <a:cubicBezTo>
                  <a:pt x="11819737" y="3721792"/>
                  <a:pt x="11801145" y="3807336"/>
                  <a:pt x="11811000" y="4028316"/>
                </a:cubicBezTo>
                <a:cubicBezTo>
                  <a:pt x="11820855" y="4249296"/>
                  <a:pt x="11824002" y="4522096"/>
                  <a:pt x="11811000" y="4693566"/>
                </a:cubicBezTo>
                <a:cubicBezTo>
                  <a:pt x="11797999" y="4865036"/>
                  <a:pt x="11787768" y="4979749"/>
                  <a:pt x="11811000" y="5179198"/>
                </a:cubicBezTo>
                <a:cubicBezTo>
                  <a:pt x="11834232" y="5378647"/>
                  <a:pt x="11824820" y="5775744"/>
                  <a:pt x="11811000" y="6263555"/>
                </a:cubicBezTo>
                <a:cubicBezTo>
                  <a:pt x="11820168" y="6432874"/>
                  <a:pt x="11693865" y="6527210"/>
                  <a:pt x="11534691" y="6539864"/>
                </a:cubicBezTo>
                <a:cubicBezTo>
                  <a:pt x="11328979" y="6573097"/>
                  <a:pt x="10851794" y="6576898"/>
                  <a:pt x="10647266" y="6539864"/>
                </a:cubicBezTo>
                <a:cubicBezTo>
                  <a:pt x="10442738" y="6502830"/>
                  <a:pt x="10188245" y="6536482"/>
                  <a:pt x="9985008" y="6539864"/>
                </a:cubicBezTo>
                <a:cubicBezTo>
                  <a:pt x="9781771" y="6543246"/>
                  <a:pt x="9655399" y="6535718"/>
                  <a:pt x="9435334" y="6539864"/>
                </a:cubicBezTo>
                <a:cubicBezTo>
                  <a:pt x="9215269" y="6544010"/>
                  <a:pt x="9174278" y="6521901"/>
                  <a:pt x="8998244" y="6539864"/>
                </a:cubicBezTo>
                <a:cubicBezTo>
                  <a:pt x="8822210" y="6557828"/>
                  <a:pt x="8695160" y="6523053"/>
                  <a:pt x="8448570" y="6539864"/>
                </a:cubicBezTo>
                <a:cubicBezTo>
                  <a:pt x="8201980" y="6556675"/>
                  <a:pt x="8057062" y="6549860"/>
                  <a:pt x="7673728" y="6539864"/>
                </a:cubicBezTo>
                <a:cubicBezTo>
                  <a:pt x="7290394" y="6529868"/>
                  <a:pt x="7073721" y="6518109"/>
                  <a:pt x="6898887" y="6539864"/>
                </a:cubicBezTo>
                <a:cubicBezTo>
                  <a:pt x="6724053" y="6561619"/>
                  <a:pt x="6673636" y="6542743"/>
                  <a:pt x="6574380" y="6539864"/>
                </a:cubicBezTo>
                <a:cubicBezTo>
                  <a:pt x="6475124" y="6536985"/>
                  <a:pt x="6236107" y="6527822"/>
                  <a:pt x="6024706" y="6539864"/>
                </a:cubicBezTo>
                <a:cubicBezTo>
                  <a:pt x="5813305" y="6551906"/>
                  <a:pt x="5730978" y="6561993"/>
                  <a:pt x="5475032" y="6539864"/>
                </a:cubicBezTo>
                <a:cubicBezTo>
                  <a:pt x="5219086" y="6517735"/>
                  <a:pt x="5099294" y="6527365"/>
                  <a:pt x="4812775" y="6539864"/>
                </a:cubicBezTo>
                <a:cubicBezTo>
                  <a:pt x="4526256" y="6552363"/>
                  <a:pt x="4495982" y="6543126"/>
                  <a:pt x="4263101" y="6539864"/>
                </a:cubicBezTo>
                <a:cubicBezTo>
                  <a:pt x="4030220" y="6536602"/>
                  <a:pt x="3784956" y="6574385"/>
                  <a:pt x="3375675" y="6539864"/>
                </a:cubicBezTo>
                <a:cubicBezTo>
                  <a:pt x="2966394" y="6505343"/>
                  <a:pt x="3135924" y="6527838"/>
                  <a:pt x="3051169" y="6539864"/>
                </a:cubicBezTo>
                <a:cubicBezTo>
                  <a:pt x="2966414" y="6551890"/>
                  <a:pt x="2690961" y="6524046"/>
                  <a:pt x="2388911" y="6539864"/>
                </a:cubicBezTo>
                <a:cubicBezTo>
                  <a:pt x="2086861" y="6555682"/>
                  <a:pt x="1863389" y="6540751"/>
                  <a:pt x="1614070" y="6539864"/>
                </a:cubicBezTo>
                <a:cubicBezTo>
                  <a:pt x="1364751" y="6538977"/>
                  <a:pt x="1291765" y="6521886"/>
                  <a:pt x="1064396" y="6539864"/>
                </a:cubicBezTo>
                <a:cubicBezTo>
                  <a:pt x="837027" y="6557842"/>
                  <a:pt x="547291" y="6542932"/>
                  <a:pt x="276309" y="6539864"/>
                </a:cubicBezTo>
                <a:cubicBezTo>
                  <a:pt x="130934" y="6520487"/>
                  <a:pt x="-22581" y="6398236"/>
                  <a:pt x="0" y="6263555"/>
                </a:cubicBezTo>
                <a:cubicBezTo>
                  <a:pt x="4468" y="6084194"/>
                  <a:pt x="-2016" y="5887631"/>
                  <a:pt x="0" y="5718050"/>
                </a:cubicBezTo>
                <a:cubicBezTo>
                  <a:pt x="2016" y="5548469"/>
                  <a:pt x="17236" y="5177974"/>
                  <a:pt x="0" y="4933056"/>
                </a:cubicBezTo>
                <a:cubicBezTo>
                  <a:pt x="-17236" y="4688138"/>
                  <a:pt x="30289" y="4592748"/>
                  <a:pt x="0" y="4267806"/>
                </a:cubicBezTo>
                <a:cubicBezTo>
                  <a:pt x="-30289" y="3942864"/>
                  <a:pt x="-14872" y="3895665"/>
                  <a:pt x="0" y="3722302"/>
                </a:cubicBezTo>
                <a:cubicBezTo>
                  <a:pt x="14872" y="3548939"/>
                  <a:pt x="-12413" y="3380923"/>
                  <a:pt x="0" y="3057052"/>
                </a:cubicBezTo>
                <a:cubicBezTo>
                  <a:pt x="12413" y="2733181"/>
                  <a:pt x="25179" y="2623577"/>
                  <a:pt x="0" y="2272058"/>
                </a:cubicBezTo>
                <a:cubicBezTo>
                  <a:pt x="-25179" y="1920539"/>
                  <a:pt x="5940" y="1924738"/>
                  <a:pt x="0" y="1666681"/>
                </a:cubicBezTo>
                <a:cubicBezTo>
                  <a:pt x="-5940" y="1408624"/>
                  <a:pt x="21070" y="1224865"/>
                  <a:pt x="0" y="1061303"/>
                </a:cubicBezTo>
                <a:cubicBezTo>
                  <a:pt x="-21070" y="897741"/>
                  <a:pt x="38394" y="533993"/>
                  <a:pt x="0" y="276309"/>
                </a:cubicBezTo>
                <a:close/>
              </a:path>
              <a:path w="11811000" h="6539864" stroke="0" extrusionOk="0">
                <a:moveTo>
                  <a:pt x="0" y="276309"/>
                </a:moveTo>
                <a:cubicBezTo>
                  <a:pt x="20890" y="133639"/>
                  <a:pt x="93626" y="-23293"/>
                  <a:pt x="276309" y="0"/>
                </a:cubicBezTo>
                <a:cubicBezTo>
                  <a:pt x="495014" y="-6512"/>
                  <a:pt x="781700" y="14060"/>
                  <a:pt x="938567" y="0"/>
                </a:cubicBezTo>
                <a:cubicBezTo>
                  <a:pt x="1095434" y="-14060"/>
                  <a:pt x="1317075" y="-3727"/>
                  <a:pt x="1488241" y="0"/>
                </a:cubicBezTo>
                <a:cubicBezTo>
                  <a:pt x="1659407" y="3727"/>
                  <a:pt x="1740036" y="-9857"/>
                  <a:pt x="1812747" y="0"/>
                </a:cubicBezTo>
                <a:cubicBezTo>
                  <a:pt x="1885458" y="9857"/>
                  <a:pt x="2298351" y="-29244"/>
                  <a:pt x="2587589" y="0"/>
                </a:cubicBezTo>
                <a:cubicBezTo>
                  <a:pt x="2876827" y="29244"/>
                  <a:pt x="3156670" y="38040"/>
                  <a:pt x="3362430" y="0"/>
                </a:cubicBezTo>
                <a:cubicBezTo>
                  <a:pt x="3568190" y="-38040"/>
                  <a:pt x="3537636" y="-3311"/>
                  <a:pt x="3686936" y="0"/>
                </a:cubicBezTo>
                <a:cubicBezTo>
                  <a:pt x="3836236" y="3311"/>
                  <a:pt x="4174849" y="-33726"/>
                  <a:pt x="4574362" y="0"/>
                </a:cubicBezTo>
                <a:cubicBezTo>
                  <a:pt x="4973875" y="33726"/>
                  <a:pt x="4799209" y="-8541"/>
                  <a:pt x="4898868" y="0"/>
                </a:cubicBezTo>
                <a:cubicBezTo>
                  <a:pt x="4998527" y="8541"/>
                  <a:pt x="5398846" y="16779"/>
                  <a:pt x="5561126" y="0"/>
                </a:cubicBezTo>
                <a:cubicBezTo>
                  <a:pt x="5723406" y="-16779"/>
                  <a:pt x="5908484" y="20871"/>
                  <a:pt x="5998216" y="0"/>
                </a:cubicBezTo>
                <a:cubicBezTo>
                  <a:pt x="6087948" y="-20871"/>
                  <a:pt x="6401464" y="-28369"/>
                  <a:pt x="6773058" y="0"/>
                </a:cubicBezTo>
                <a:cubicBezTo>
                  <a:pt x="7144652" y="28369"/>
                  <a:pt x="7025774" y="9082"/>
                  <a:pt x="7210148" y="0"/>
                </a:cubicBezTo>
                <a:cubicBezTo>
                  <a:pt x="7394522" y="-9082"/>
                  <a:pt x="7438945" y="-16116"/>
                  <a:pt x="7534654" y="0"/>
                </a:cubicBezTo>
                <a:cubicBezTo>
                  <a:pt x="7630363" y="16116"/>
                  <a:pt x="7995229" y="15477"/>
                  <a:pt x="8422080" y="0"/>
                </a:cubicBezTo>
                <a:cubicBezTo>
                  <a:pt x="8848931" y="-15477"/>
                  <a:pt x="8934132" y="37097"/>
                  <a:pt x="9309505" y="0"/>
                </a:cubicBezTo>
                <a:cubicBezTo>
                  <a:pt x="9684879" y="-37097"/>
                  <a:pt x="9898525" y="23021"/>
                  <a:pt x="10084346" y="0"/>
                </a:cubicBezTo>
                <a:cubicBezTo>
                  <a:pt x="10270167" y="-23021"/>
                  <a:pt x="10295875" y="-10612"/>
                  <a:pt x="10408853" y="0"/>
                </a:cubicBezTo>
                <a:cubicBezTo>
                  <a:pt x="10521831" y="10612"/>
                  <a:pt x="11060954" y="2622"/>
                  <a:pt x="11534691" y="0"/>
                </a:cubicBezTo>
                <a:cubicBezTo>
                  <a:pt x="11669686" y="-5469"/>
                  <a:pt x="11776528" y="132029"/>
                  <a:pt x="11811000" y="276309"/>
                </a:cubicBezTo>
                <a:cubicBezTo>
                  <a:pt x="11796287" y="442217"/>
                  <a:pt x="11822438" y="627172"/>
                  <a:pt x="11811000" y="881686"/>
                </a:cubicBezTo>
                <a:cubicBezTo>
                  <a:pt x="11799562" y="1136200"/>
                  <a:pt x="11835797" y="1259062"/>
                  <a:pt x="11811000" y="1606808"/>
                </a:cubicBezTo>
                <a:cubicBezTo>
                  <a:pt x="11786203" y="1954554"/>
                  <a:pt x="11826705" y="1905102"/>
                  <a:pt x="11811000" y="2092440"/>
                </a:cubicBezTo>
                <a:cubicBezTo>
                  <a:pt x="11795295" y="2279778"/>
                  <a:pt x="11819552" y="2521674"/>
                  <a:pt x="11811000" y="2637945"/>
                </a:cubicBezTo>
                <a:cubicBezTo>
                  <a:pt x="11802448" y="2754217"/>
                  <a:pt x="11808331" y="3036282"/>
                  <a:pt x="11811000" y="3183450"/>
                </a:cubicBezTo>
                <a:cubicBezTo>
                  <a:pt x="11813669" y="3330618"/>
                  <a:pt x="11778432" y="3640433"/>
                  <a:pt x="11811000" y="3908572"/>
                </a:cubicBezTo>
                <a:cubicBezTo>
                  <a:pt x="11843568" y="4176711"/>
                  <a:pt x="11823783" y="4494357"/>
                  <a:pt x="11811000" y="4693566"/>
                </a:cubicBezTo>
                <a:cubicBezTo>
                  <a:pt x="11798217" y="4892775"/>
                  <a:pt x="11823835" y="4947328"/>
                  <a:pt x="11811000" y="5179198"/>
                </a:cubicBezTo>
                <a:cubicBezTo>
                  <a:pt x="11798165" y="5411068"/>
                  <a:pt x="11813056" y="6014585"/>
                  <a:pt x="11811000" y="6263555"/>
                </a:cubicBezTo>
                <a:cubicBezTo>
                  <a:pt x="11786682" y="6409302"/>
                  <a:pt x="11669488" y="6539305"/>
                  <a:pt x="11534691" y="6539864"/>
                </a:cubicBezTo>
                <a:cubicBezTo>
                  <a:pt x="11241971" y="6564579"/>
                  <a:pt x="11001665" y="6543078"/>
                  <a:pt x="10759849" y="6539864"/>
                </a:cubicBezTo>
                <a:cubicBezTo>
                  <a:pt x="10518033" y="6536650"/>
                  <a:pt x="10559413" y="6543082"/>
                  <a:pt x="10435343" y="6539864"/>
                </a:cubicBezTo>
                <a:cubicBezTo>
                  <a:pt x="10311273" y="6536646"/>
                  <a:pt x="9934938" y="6519704"/>
                  <a:pt x="9773085" y="6539864"/>
                </a:cubicBezTo>
                <a:cubicBezTo>
                  <a:pt x="9611232" y="6560024"/>
                  <a:pt x="9192404" y="6500085"/>
                  <a:pt x="8885660" y="6539864"/>
                </a:cubicBezTo>
                <a:cubicBezTo>
                  <a:pt x="8578917" y="6579643"/>
                  <a:pt x="8394840" y="6512723"/>
                  <a:pt x="7998235" y="6539864"/>
                </a:cubicBezTo>
                <a:cubicBezTo>
                  <a:pt x="7601631" y="6567005"/>
                  <a:pt x="7508469" y="6516653"/>
                  <a:pt x="7110809" y="6539864"/>
                </a:cubicBezTo>
                <a:cubicBezTo>
                  <a:pt x="6713149" y="6563075"/>
                  <a:pt x="6641706" y="6525084"/>
                  <a:pt x="6223384" y="6539864"/>
                </a:cubicBezTo>
                <a:cubicBezTo>
                  <a:pt x="5805062" y="6554644"/>
                  <a:pt x="5941608" y="6557619"/>
                  <a:pt x="5786294" y="6539864"/>
                </a:cubicBezTo>
                <a:cubicBezTo>
                  <a:pt x="5630980" y="6522110"/>
                  <a:pt x="5448053" y="6519195"/>
                  <a:pt x="5124036" y="6539864"/>
                </a:cubicBezTo>
                <a:cubicBezTo>
                  <a:pt x="4800019" y="6560533"/>
                  <a:pt x="4946688" y="6554373"/>
                  <a:pt x="4799530" y="6539864"/>
                </a:cubicBezTo>
                <a:cubicBezTo>
                  <a:pt x="4652372" y="6525355"/>
                  <a:pt x="4467671" y="6562976"/>
                  <a:pt x="4137272" y="6539864"/>
                </a:cubicBezTo>
                <a:cubicBezTo>
                  <a:pt x="3806873" y="6516752"/>
                  <a:pt x="3931886" y="6542919"/>
                  <a:pt x="3812765" y="6539864"/>
                </a:cubicBezTo>
                <a:cubicBezTo>
                  <a:pt x="3693644" y="6536809"/>
                  <a:pt x="3472379" y="6533770"/>
                  <a:pt x="3375675" y="6539864"/>
                </a:cubicBezTo>
                <a:cubicBezTo>
                  <a:pt x="3278971" y="6545959"/>
                  <a:pt x="2974375" y="6567147"/>
                  <a:pt x="2826001" y="6539864"/>
                </a:cubicBezTo>
                <a:cubicBezTo>
                  <a:pt x="2677627" y="6512581"/>
                  <a:pt x="2494363" y="6571312"/>
                  <a:pt x="2163744" y="6539864"/>
                </a:cubicBezTo>
                <a:cubicBezTo>
                  <a:pt x="1833125" y="6508416"/>
                  <a:pt x="1977346" y="6554881"/>
                  <a:pt x="1839237" y="6539864"/>
                </a:cubicBezTo>
                <a:cubicBezTo>
                  <a:pt x="1701128" y="6524847"/>
                  <a:pt x="1150916" y="6583885"/>
                  <a:pt x="951812" y="6539864"/>
                </a:cubicBezTo>
                <a:cubicBezTo>
                  <a:pt x="752708" y="6495843"/>
                  <a:pt x="593978" y="6526984"/>
                  <a:pt x="276309" y="6539864"/>
                </a:cubicBezTo>
                <a:cubicBezTo>
                  <a:pt x="135821" y="6523812"/>
                  <a:pt x="4350" y="6397773"/>
                  <a:pt x="0" y="6263555"/>
                </a:cubicBezTo>
                <a:cubicBezTo>
                  <a:pt x="-22309" y="6002412"/>
                  <a:pt x="2125" y="5785703"/>
                  <a:pt x="0" y="5658178"/>
                </a:cubicBezTo>
                <a:cubicBezTo>
                  <a:pt x="-2125" y="5530653"/>
                  <a:pt x="36191" y="5289459"/>
                  <a:pt x="0" y="4933056"/>
                </a:cubicBezTo>
                <a:cubicBezTo>
                  <a:pt x="-36191" y="4576653"/>
                  <a:pt x="-10199" y="4459738"/>
                  <a:pt x="0" y="4267806"/>
                </a:cubicBezTo>
                <a:cubicBezTo>
                  <a:pt x="10199" y="4075874"/>
                  <a:pt x="4354" y="3802315"/>
                  <a:pt x="0" y="3662429"/>
                </a:cubicBezTo>
                <a:cubicBezTo>
                  <a:pt x="-4354" y="3522543"/>
                  <a:pt x="-9180" y="3356004"/>
                  <a:pt x="0" y="3176797"/>
                </a:cubicBezTo>
                <a:cubicBezTo>
                  <a:pt x="9180" y="2997590"/>
                  <a:pt x="13449" y="2662145"/>
                  <a:pt x="0" y="2391803"/>
                </a:cubicBezTo>
                <a:cubicBezTo>
                  <a:pt x="-13449" y="2121461"/>
                  <a:pt x="21648" y="2032854"/>
                  <a:pt x="0" y="1906170"/>
                </a:cubicBezTo>
                <a:cubicBezTo>
                  <a:pt x="-21648" y="1779486"/>
                  <a:pt x="15691" y="1378683"/>
                  <a:pt x="0" y="1121176"/>
                </a:cubicBezTo>
                <a:cubicBezTo>
                  <a:pt x="-15691" y="863669"/>
                  <a:pt x="19462" y="681739"/>
                  <a:pt x="0" y="276309"/>
                </a:cubicBezTo>
                <a:close/>
              </a:path>
            </a:pathLst>
          </a:custGeom>
          <a:solidFill>
            <a:schemeClr val="bg1">
              <a:alpha val="98000"/>
            </a:schemeClr>
          </a:solidFill>
          <a:ln w="38100">
            <a:solidFill>
              <a:schemeClr val="tx1"/>
            </a:solidFill>
            <a:extLst>
              <a:ext uri="{C807C97D-BFC1-408E-A445-0C87EB9F89A2}">
                <ask:lineSketchStyleProps xmlns:ask="http://schemas.microsoft.com/office/drawing/2018/sketchyshapes" sd="1860289983">
                  <a:prstGeom prst="roundRect">
                    <a:avLst>
                      <a:gd name="adj" fmla="val 4225"/>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9Slide02 Noi dung dai"/>
              <a:ea typeface="+mn-ea"/>
              <a:cs typeface="+mn-cs"/>
            </a:endParaRPr>
          </a:p>
        </p:txBody>
      </p:sp>
      <p:pic>
        <p:nvPicPr>
          <p:cNvPr id="7" name="Picture 6">
            <a:extLst>
              <a:ext uri="{FF2B5EF4-FFF2-40B4-BE49-F238E27FC236}">
                <a16:creationId xmlns:a16="http://schemas.microsoft.com/office/drawing/2014/main" id="{747FA848-BA99-1F9A-EA99-A4FEE950C64F}"/>
              </a:ext>
            </a:extLst>
          </p:cNvPr>
          <p:cNvPicPr>
            <a:picLocks noChangeAspect="1"/>
          </p:cNvPicPr>
          <p:nvPr/>
        </p:nvPicPr>
        <p:blipFill rotWithShape="1">
          <a:blip r:embed="rId6">
            <a:extLst>
              <a:ext uri="{28A0092B-C50C-407E-A947-70E740481C1C}">
                <a14:useLocalDpi xmlns:a14="http://schemas.microsoft.com/office/drawing/2010/main" val="0"/>
              </a:ext>
            </a:extLst>
          </a:blip>
          <a:srcRect r="77248" b="-607"/>
          <a:stretch/>
        </p:blipFill>
        <p:spPr>
          <a:xfrm>
            <a:off x="460810" y="352425"/>
            <a:ext cx="910790" cy="903514"/>
          </a:xfrm>
          <a:prstGeom prst="rect">
            <a:avLst/>
          </a:prstGeom>
        </p:spPr>
      </p:pic>
      <p:sp>
        <p:nvSpPr>
          <p:cNvPr id="8" name="TextBox 7">
            <a:extLst>
              <a:ext uri="{FF2B5EF4-FFF2-40B4-BE49-F238E27FC236}">
                <a16:creationId xmlns:a16="http://schemas.microsoft.com/office/drawing/2014/main" id="{080B6BF7-8982-C6C5-31A5-4F84851A0696}"/>
              </a:ext>
            </a:extLst>
          </p:cNvPr>
          <p:cNvSpPr txBox="1"/>
          <p:nvPr/>
        </p:nvSpPr>
        <p:spPr>
          <a:xfrm>
            <a:off x="1442913" y="457200"/>
            <a:ext cx="10225212" cy="492443"/>
          </a:xfrm>
          <a:prstGeom prst="rect">
            <a:avLst/>
          </a:prstGeom>
          <a:noFill/>
        </p:spPr>
        <p:txBody>
          <a:bodyPr wrap="square" lIns="0" tIns="0" rIns="0" bIns="0" rtlCol="0">
            <a:spAutoFit/>
          </a:bodyPr>
          <a:lstStyle/>
          <a:p>
            <a:pPr algn="l"/>
            <a:r>
              <a:rPr lang="vi-VN" sz="3200" b="1" dirty="0">
                <a:solidFill>
                  <a:schemeClr val="tx2">
                    <a:lumMod val="75000"/>
                  </a:schemeClr>
                </a:solidFill>
                <a:latin typeface="Cambria" panose="02040503050406030204" pitchFamily="18" charset="0"/>
                <a:ea typeface="Cambria" panose="02040503050406030204" pitchFamily="18" charset="0"/>
              </a:rPr>
              <a:t>Quan sát tranh và thực hiện yêu cầu:</a:t>
            </a:r>
          </a:p>
        </p:txBody>
      </p:sp>
      <p:pic>
        <p:nvPicPr>
          <p:cNvPr id="10" name="Picture 9" descr="A cartoon of children walking on a path with trees&#10;&#10;AI-generated content may be incorrect.">
            <a:extLst>
              <a:ext uri="{FF2B5EF4-FFF2-40B4-BE49-F238E27FC236}">
                <a16:creationId xmlns:a16="http://schemas.microsoft.com/office/drawing/2014/main" id="{86070E8A-D42A-0B14-88F5-491AED9739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38620" y="1066800"/>
            <a:ext cx="7124780" cy="5646388"/>
          </a:xfrm>
          <a:prstGeom prst="rect">
            <a:avLst/>
          </a:prstGeom>
        </p:spPr>
      </p:pic>
      <p:sp>
        <p:nvSpPr>
          <p:cNvPr id="11" name="TextBox 10">
            <a:extLst>
              <a:ext uri="{FF2B5EF4-FFF2-40B4-BE49-F238E27FC236}">
                <a16:creationId xmlns:a16="http://schemas.microsoft.com/office/drawing/2014/main" id="{1F6518A0-97EB-B852-9E1F-E64EE51FC1A3}"/>
              </a:ext>
            </a:extLst>
          </p:cNvPr>
          <p:cNvSpPr txBox="1"/>
          <p:nvPr/>
        </p:nvSpPr>
        <p:spPr>
          <a:xfrm>
            <a:off x="453596" y="1255939"/>
            <a:ext cx="4143375" cy="1477328"/>
          </a:xfrm>
          <a:prstGeom prst="rect">
            <a:avLst/>
          </a:prstGeom>
          <a:noFill/>
        </p:spPr>
        <p:txBody>
          <a:bodyPr wrap="square" lIns="0" tIns="0" rIns="0" bIns="0" rtlCol="0">
            <a:spAutoFit/>
          </a:bodyPr>
          <a:lstStyle/>
          <a:p>
            <a:pPr algn="just"/>
            <a:r>
              <a:rPr lang="en-US" sz="3200" dirty="0">
                <a:latin typeface="Cambria" panose="02040503050406030204" pitchFamily="18" charset="0"/>
                <a:ea typeface="Cambria" panose="02040503050406030204" pitchFamily="18" charset="0"/>
              </a:rPr>
              <a:t>a. </a:t>
            </a:r>
            <a:r>
              <a:rPr lang="en-US" sz="3200" dirty="0" err="1">
                <a:latin typeface="Cambria" panose="02040503050406030204" pitchFamily="18" charset="0"/>
                <a:ea typeface="Cambria" panose="02040503050406030204" pitchFamily="18" charset="0"/>
              </a:rPr>
              <a:t>Nêu</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tên</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các</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chủ</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điểm</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đã</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học</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trong</a:t>
            </a:r>
            <a:r>
              <a:rPr lang="en-US" sz="3200" dirty="0">
                <a:latin typeface="Cambria" panose="02040503050406030204" pitchFamily="18" charset="0"/>
                <a:ea typeface="Cambria" panose="02040503050406030204" pitchFamily="18" charset="0"/>
              </a:rPr>
              <a:t> </a:t>
            </a:r>
            <a:r>
              <a:rPr lang="en-US" sz="3200" i="1" dirty="0" err="1">
                <a:latin typeface="Cambria" panose="02040503050406030204" pitchFamily="18" charset="0"/>
                <a:ea typeface="Cambria" panose="02040503050406030204" pitchFamily="18" charset="0"/>
              </a:rPr>
              <a:t>Tiếng</a:t>
            </a:r>
            <a:r>
              <a:rPr lang="en-US" sz="3200" i="1" dirty="0">
                <a:latin typeface="Cambria" panose="02040503050406030204" pitchFamily="18" charset="0"/>
                <a:ea typeface="Cambria" panose="02040503050406030204" pitchFamily="18" charset="0"/>
              </a:rPr>
              <a:t> Việt 5 </a:t>
            </a:r>
            <a:r>
              <a:rPr lang="en-US" sz="3200" dirty="0">
                <a:latin typeface="Cambria" panose="02040503050406030204" pitchFamily="18" charset="0"/>
                <a:ea typeface="Cambria" panose="02040503050406030204" pitchFamily="18" charset="0"/>
              </a:rPr>
              <a:t>(</a:t>
            </a:r>
            <a:r>
              <a:rPr lang="en-US" sz="3200" dirty="0" err="1">
                <a:latin typeface="Cambria" panose="02040503050406030204" pitchFamily="18" charset="0"/>
                <a:ea typeface="Cambria" panose="02040503050406030204" pitchFamily="18" charset="0"/>
              </a:rPr>
              <a:t>tập</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một</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và</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tập</a:t>
            </a:r>
            <a:r>
              <a:rPr lang="en-US" sz="3200" dirty="0">
                <a:latin typeface="Cambria" panose="02040503050406030204" pitchFamily="18" charset="0"/>
                <a:ea typeface="Cambria" panose="02040503050406030204" pitchFamily="18" charset="0"/>
              </a:rPr>
              <a:t> </a:t>
            </a:r>
            <a:r>
              <a:rPr lang="en-US" sz="3200" dirty="0" err="1">
                <a:latin typeface="Cambria" panose="02040503050406030204" pitchFamily="18" charset="0"/>
                <a:ea typeface="Cambria" panose="02040503050406030204" pitchFamily="18" charset="0"/>
              </a:rPr>
              <a:t>hai</a:t>
            </a:r>
            <a:r>
              <a:rPr lang="en-US" sz="3200" dirty="0">
                <a:latin typeface="Cambria" panose="02040503050406030204" pitchFamily="18" charset="0"/>
                <a:ea typeface="Cambria" panose="02040503050406030204" pitchFamily="18" charset="0"/>
              </a:rPr>
              <a:t>).</a:t>
            </a:r>
            <a:endParaRPr lang="vi-VN" sz="4800" b="1" dirty="0">
              <a:solidFill>
                <a:schemeClr val="tx2">
                  <a:lumMod val="75000"/>
                </a:schemeClr>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641696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arn(inVertical)">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randombar(horizontal)">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barn(inVertical)">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C48960-4730-1369-D3AD-BE8181EB7FF8}"/>
              </a:ext>
            </a:extLst>
          </p:cNvPr>
          <p:cNvPicPr>
            <a:picLocks noChangeAspect="1"/>
          </p:cNvPicPr>
          <p:nvPr/>
        </p:nvPicPr>
        <p:blipFill>
          <a:blip r:embed="rId4"/>
          <a:stretch>
            <a:fillRect/>
          </a:stretch>
        </p:blipFill>
        <p:spPr>
          <a:xfrm>
            <a:off x="685800" y="304800"/>
            <a:ext cx="11126164" cy="1109568"/>
          </a:xfrm>
          <a:prstGeom prst="rect">
            <a:avLst/>
          </a:prstGeom>
        </p:spPr>
      </p:pic>
      <p:pic>
        <p:nvPicPr>
          <p:cNvPr id="4" name="Picture 3">
            <a:extLst>
              <a:ext uri="{FF2B5EF4-FFF2-40B4-BE49-F238E27FC236}">
                <a16:creationId xmlns:a16="http://schemas.microsoft.com/office/drawing/2014/main" id="{23B0D38F-F060-0C6E-B89E-53902785C273}"/>
              </a:ext>
            </a:extLst>
          </p:cNvPr>
          <p:cNvPicPr>
            <a:picLocks noChangeAspect="1"/>
          </p:cNvPicPr>
          <p:nvPr/>
        </p:nvPicPr>
        <p:blipFill>
          <a:blip r:embed="rId5"/>
          <a:stretch>
            <a:fillRect/>
          </a:stretch>
        </p:blipFill>
        <p:spPr>
          <a:xfrm>
            <a:off x="695960" y="1496805"/>
            <a:ext cx="3647440" cy="5086875"/>
          </a:xfrm>
          <a:prstGeom prst="rect">
            <a:avLst/>
          </a:prstGeom>
        </p:spPr>
      </p:pic>
      <p:pic>
        <p:nvPicPr>
          <p:cNvPr id="6" name="Picture 5" descr="A yellow cartoon face with white hand on it&#10;&#10;AI-generated content may be incorrect.">
            <a:extLst>
              <a:ext uri="{FF2B5EF4-FFF2-40B4-BE49-F238E27FC236}">
                <a16:creationId xmlns:a16="http://schemas.microsoft.com/office/drawing/2014/main" id="{0A4A3F4F-05F9-647D-F842-6CDF93C697BB}"/>
              </a:ext>
            </a:extLst>
          </p:cNvPr>
          <p:cNvPicPr>
            <a:picLocks noChangeAspect="1"/>
          </p:cNvPicPr>
          <p:nvPr/>
        </p:nvPicPr>
        <p:blipFill>
          <a:blip r:embed="rId6" cstate="hqprint">
            <a:extLst>
              <a:ext uri="{28A0092B-C50C-407E-A947-70E740481C1C}">
                <a14:useLocalDpi xmlns:a14="http://schemas.microsoft.com/office/drawing/2010/main" val="0"/>
              </a:ext>
            </a:extLst>
          </a:blip>
          <a:srcRect l="10222" t="12330" r="12000" b="12114"/>
          <a:stretch/>
        </p:blipFill>
        <p:spPr>
          <a:xfrm>
            <a:off x="1219200" y="2057400"/>
            <a:ext cx="2438400" cy="2368731"/>
          </a:xfrm>
          <a:prstGeom prst="rect">
            <a:avLst/>
          </a:prstGeom>
        </p:spPr>
      </p:pic>
      <p:pic>
        <p:nvPicPr>
          <p:cNvPr id="7" name="Am-thanh-ta-da-cua-dan-nhac-www_tiengdong_com">
            <a:hlinkClick r:id="" action="ppaction://media"/>
            <a:extLst>
              <a:ext uri="{FF2B5EF4-FFF2-40B4-BE49-F238E27FC236}">
                <a16:creationId xmlns:a16="http://schemas.microsoft.com/office/drawing/2014/main" id="{C01C2E89-C1EB-09A1-19AB-A2492C46D21B}"/>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1055610" y="-505997"/>
            <a:ext cx="406400" cy="406400"/>
          </a:xfrm>
          <a:prstGeom prst="rect">
            <a:avLst/>
          </a:prstGeom>
        </p:spPr>
      </p:pic>
      <p:pic>
        <p:nvPicPr>
          <p:cNvPr id="8" name="Picture 7">
            <a:extLst>
              <a:ext uri="{FF2B5EF4-FFF2-40B4-BE49-F238E27FC236}">
                <a16:creationId xmlns:a16="http://schemas.microsoft.com/office/drawing/2014/main" id="{E6885091-35CF-8D97-B8A5-A9A911F06B50}"/>
              </a:ext>
            </a:extLst>
          </p:cNvPr>
          <p:cNvPicPr>
            <a:picLocks noChangeAspect="1"/>
          </p:cNvPicPr>
          <p:nvPr/>
        </p:nvPicPr>
        <p:blipFill>
          <a:blip r:embed="rId8"/>
          <a:stretch>
            <a:fillRect/>
          </a:stretch>
        </p:blipFill>
        <p:spPr>
          <a:xfrm>
            <a:off x="6629400" y="1449762"/>
            <a:ext cx="3647440" cy="5133918"/>
          </a:xfrm>
          <a:prstGeom prst="rect">
            <a:avLst/>
          </a:prstGeom>
        </p:spPr>
      </p:pic>
      <p:pic>
        <p:nvPicPr>
          <p:cNvPr id="11" name="Picture 10" descr="A yellow cartoon face with white hand on it&#10;&#10;AI-generated content may be incorrect.">
            <a:extLst>
              <a:ext uri="{FF2B5EF4-FFF2-40B4-BE49-F238E27FC236}">
                <a16:creationId xmlns:a16="http://schemas.microsoft.com/office/drawing/2014/main" id="{D287A992-5E87-F97D-052C-E47F8C49DB50}"/>
              </a:ext>
            </a:extLst>
          </p:cNvPr>
          <p:cNvPicPr>
            <a:picLocks noChangeAspect="1"/>
          </p:cNvPicPr>
          <p:nvPr/>
        </p:nvPicPr>
        <p:blipFill>
          <a:blip r:embed="rId6">
            <a:extLst>
              <a:ext uri="{28A0092B-C50C-407E-A947-70E740481C1C}">
                <a14:useLocalDpi xmlns:a14="http://schemas.microsoft.com/office/drawing/2010/main" val="0"/>
              </a:ext>
            </a:extLst>
          </a:blip>
          <a:srcRect l="10222" t="12330" r="12000" b="12114"/>
          <a:stretch/>
        </p:blipFill>
        <p:spPr>
          <a:xfrm>
            <a:off x="7162800" y="1600200"/>
            <a:ext cx="2667000" cy="2590800"/>
          </a:xfrm>
          <a:prstGeom prst="rect">
            <a:avLst/>
          </a:prstGeom>
        </p:spPr>
      </p:pic>
      <p:pic>
        <p:nvPicPr>
          <p:cNvPr id="12" name="Am-thanh-ta-da-cua-dan-nhac-www_tiengdong_com">
            <a:hlinkClick r:id="" action="ppaction://media"/>
            <a:extLst>
              <a:ext uri="{FF2B5EF4-FFF2-40B4-BE49-F238E27FC236}">
                <a16:creationId xmlns:a16="http://schemas.microsoft.com/office/drawing/2014/main" id="{3F630342-85F9-41AC-F468-ADBC3869F1D8}"/>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2798050" y="274320"/>
            <a:ext cx="406400" cy="406400"/>
          </a:xfrm>
          <a:prstGeom prst="rect">
            <a:avLst/>
          </a:prstGeom>
        </p:spPr>
      </p:pic>
    </p:spTree>
    <p:extLst>
      <p:ext uri="{BB962C8B-B14F-4D97-AF65-F5344CB8AC3E}">
        <p14:creationId xmlns:p14="http://schemas.microsoft.com/office/powerpoint/2010/main" val="204140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32" presetClass="emph" presetSubtype="0" fill="hold" nodeType="afterEffect">
                                  <p:stCondLst>
                                    <p:cond delay="0"/>
                                  </p:stCondLst>
                                  <p:childTnLst>
                                    <p:animRot by="120000">
                                      <p:cBhvr>
                                        <p:cTn id="12" dur="100" fill="hold">
                                          <p:stCondLst>
                                            <p:cond delay="0"/>
                                          </p:stCondLst>
                                        </p:cTn>
                                        <p:tgtEl>
                                          <p:spTgt spid="3"/>
                                        </p:tgtEl>
                                        <p:attrNameLst>
                                          <p:attrName>r</p:attrName>
                                        </p:attrNameLst>
                                      </p:cBhvr>
                                    </p:animRot>
                                    <p:animRot by="-240000">
                                      <p:cBhvr>
                                        <p:cTn id="13" dur="200" fill="hold">
                                          <p:stCondLst>
                                            <p:cond delay="200"/>
                                          </p:stCondLst>
                                        </p:cTn>
                                        <p:tgtEl>
                                          <p:spTgt spid="3"/>
                                        </p:tgtEl>
                                        <p:attrNameLst>
                                          <p:attrName>r</p:attrName>
                                        </p:attrNameLst>
                                      </p:cBhvr>
                                    </p:animRot>
                                    <p:animRot by="240000">
                                      <p:cBhvr>
                                        <p:cTn id="14" dur="200" fill="hold">
                                          <p:stCondLst>
                                            <p:cond delay="400"/>
                                          </p:stCondLst>
                                        </p:cTn>
                                        <p:tgtEl>
                                          <p:spTgt spid="3"/>
                                        </p:tgtEl>
                                        <p:attrNameLst>
                                          <p:attrName>r</p:attrName>
                                        </p:attrNameLst>
                                      </p:cBhvr>
                                    </p:animRot>
                                    <p:animRot by="-240000">
                                      <p:cBhvr>
                                        <p:cTn id="15" dur="200" fill="hold">
                                          <p:stCondLst>
                                            <p:cond delay="600"/>
                                          </p:stCondLst>
                                        </p:cTn>
                                        <p:tgtEl>
                                          <p:spTgt spid="3"/>
                                        </p:tgtEl>
                                        <p:attrNameLst>
                                          <p:attrName>r</p:attrName>
                                        </p:attrNameLst>
                                      </p:cBhvr>
                                    </p:animRot>
                                    <p:animRot by="120000">
                                      <p:cBhvr>
                                        <p:cTn id="16" dur="200" fill="hold">
                                          <p:stCondLst>
                                            <p:cond delay="800"/>
                                          </p:stCondLst>
                                        </p:cTn>
                                        <p:tgtEl>
                                          <p:spTgt spid="3"/>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par>
                                <p:cTn id="24" presetID="53" presetClass="entr" presetSubtype="16"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 calcmode="lin" valueType="num">
                                      <p:cBhvr>
                                        <p:cTn id="26" dur="500" fill="hold"/>
                                        <p:tgtEl>
                                          <p:spTgt spid="6"/>
                                        </p:tgtEl>
                                        <p:attrNameLst>
                                          <p:attrName>ppt_w</p:attrName>
                                        </p:attrNameLst>
                                      </p:cBhvr>
                                      <p:tavLst>
                                        <p:tav tm="0">
                                          <p:val>
                                            <p:fltVal val="0"/>
                                          </p:val>
                                        </p:tav>
                                        <p:tav tm="100000">
                                          <p:val>
                                            <p:strVal val="#ppt_w"/>
                                          </p:val>
                                        </p:tav>
                                      </p:tavLst>
                                    </p:anim>
                                    <p:anim calcmode="lin" valueType="num">
                                      <p:cBhvr>
                                        <p:cTn id="27" dur="500" fill="hold"/>
                                        <p:tgtEl>
                                          <p:spTgt spid="6"/>
                                        </p:tgtEl>
                                        <p:attrNameLst>
                                          <p:attrName>ppt_h</p:attrName>
                                        </p:attrNameLst>
                                      </p:cBhvr>
                                      <p:tavLst>
                                        <p:tav tm="0">
                                          <p:val>
                                            <p:fltVal val="0"/>
                                          </p:val>
                                        </p:tav>
                                        <p:tav tm="100000">
                                          <p:val>
                                            <p:strVal val="#ppt_h"/>
                                          </p:val>
                                        </p:tav>
                                      </p:tavLst>
                                    </p:anim>
                                    <p:animEffect transition="in" filter="fade">
                                      <p:cBhvr>
                                        <p:cTn id="28" dur="500"/>
                                        <p:tgtEl>
                                          <p:spTgt spid="6"/>
                                        </p:tgtEl>
                                      </p:cBhvr>
                                    </p:animEffect>
                                  </p:childTnLst>
                                </p:cTn>
                              </p:par>
                            </p:childTnLst>
                          </p:cTn>
                        </p:par>
                        <p:par>
                          <p:cTn id="29" fill="hold">
                            <p:stCondLst>
                              <p:cond delay="500"/>
                            </p:stCondLst>
                            <p:childTnLst>
                              <p:par>
                                <p:cTn id="30" presetID="32" presetClass="emph" presetSubtype="0" fill="hold" nodeType="afterEffect">
                                  <p:stCondLst>
                                    <p:cond delay="0"/>
                                  </p:stCondLst>
                                  <p:childTnLst>
                                    <p:animRot by="120000">
                                      <p:cBhvr>
                                        <p:cTn id="31" dur="210" fill="hold">
                                          <p:stCondLst>
                                            <p:cond delay="0"/>
                                          </p:stCondLst>
                                        </p:cTn>
                                        <p:tgtEl>
                                          <p:spTgt spid="6"/>
                                        </p:tgtEl>
                                        <p:attrNameLst>
                                          <p:attrName>r</p:attrName>
                                        </p:attrNameLst>
                                      </p:cBhvr>
                                    </p:animRot>
                                    <p:animRot by="-240000">
                                      <p:cBhvr>
                                        <p:cTn id="32" dur="420" fill="hold">
                                          <p:stCondLst>
                                            <p:cond delay="420"/>
                                          </p:stCondLst>
                                        </p:cTn>
                                        <p:tgtEl>
                                          <p:spTgt spid="6"/>
                                        </p:tgtEl>
                                        <p:attrNameLst>
                                          <p:attrName>r</p:attrName>
                                        </p:attrNameLst>
                                      </p:cBhvr>
                                    </p:animRot>
                                    <p:animRot by="240000">
                                      <p:cBhvr>
                                        <p:cTn id="33" dur="420" fill="hold">
                                          <p:stCondLst>
                                            <p:cond delay="840"/>
                                          </p:stCondLst>
                                        </p:cTn>
                                        <p:tgtEl>
                                          <p:spTgt spid="6"/>
                                        </p:tgtEl>
                                        <p:attrNameLst>
                                          <p:attrName>r</p:attrName>
                                        </p:attrNameLst>
                                      </p:cBhvr>
                                    </p:animRot>
                                    <p:animRot by="-240000">
                                      <p:cBhvr>
                                        <p:cTn id="34" dur="420" fill="hold">
                                          <p:stCondLst>
                                            <p:cond delay="1260"/>
                                          </p:stCondLst>
                                        </p:cTn>
                                        <p:tgtEl>
                                          <p:spTgt spid="6"/>
                                        </p:tgtEl>
                                        <p:attrNameLst>
                                          <p:attrName>r</p:attrName>
                                        </p:attrNameLst>
                                      </p:cBhvr>
                                    </p:animRot>
                                    <p:animRot by="120000">
                                      <p:cBhvr>
                                        <p:cTn id="35" dur="420" fill="hold">
                                          <p:stCondLst>
                                            <p:cond delay="1680"/>
                                          </p:stCondLst>
                                        </p:cTn>
                                        <p:tgtEl>
                                          <p:spTgt spid="6"/>
                                        </p:tgtEl>
                                        <p:attrNameLst>
                                          <p:attrName>r</p:attrName>
                                        </p:attrNameLst>
                                      </p:cBhvr>
                                    </p:animRot>
                                  </p:childTnLst>
                                </p:cTn>
                              </p:par>
                            </p:childTnLst>
                          </p:cTn>
                        </p:par>
                      </p:childTnLst>
                    </p:cTn>
                  </p:par>
                  <p:par>
                    <p:cTn id="36" fill="hold">
                      <p:stCondLst>
                        <p:cond delay="indefinite"/>
                      </p:stCondLst>
                      <p:childTnLst>
                        <p:par>
                          <p:cTn id="37" fill="hold">
                            <p:stCondLst>
                              <p:cond delay="0"/>
                            </p:stCondLst>
                            <p:childTnLst>
                              <p:par>
                                <p:cTn id="38" presetID="2" presetClass="exit" presetSubtype="4" fill="hold" nodeType="clickEffect">
                                  <p:stCondLst>
                                    <p:cond delay="0"/>
                                  </p:stCondLst>
                                  <p:childTnLst>
                                    <p:anim calcmode="lin" valueType="num">
                                      <p:cBhvr additive="base">
                                        <p:cTn id="39" dur="500"/>
                                        <p:tgtEl>
                                          <p:spTgt spid="6"/>
                                        </p:tgtEl>
                                        <p:attrNameLst>
                                          <p:attrName>ppt_x</p:attrName>
                                        </p:attrNameLst>
                                      </p:cBhvr>
                                      <p:tavLst>
                                        <p:tav tm="0">
                                          <p:val>
                                            <p:strVal val="ppt_x"/>
                                          </p:val>
                                        </p:tav>
                                        <p:tav tm="100000">
                                          <p:val>
                                            <p:strVal val="ppt_x"/>
                                          </p:val>
                                        </p:tav>
                                      </p:tavLst>
                                    </p:anim>
                                    <p:anim calcmode="lin" valueType="num">
                                      <p:cBhvr additive="base">
                                        <p:cTn id="40" dur="500"/>
                                        <p:tgtEl>
                                          <p:spTgt spid="6"/>
                                        </p:tgtEl>
                                        <p:attrNameLst>
                                          <p:attrName>ppt_y</p:attrName>
                                        </p:attrNameLst>
                                      </p:cBhvr>
                                      <p:tavLst>
                                        <p:tav tm="0">
                                          <p:val>
                                            <p:strVal val="ppt_y"/>
                                          </p:val>
                                        </p:tav>
                                        <p:tav tm="100000">
                                          <p:val>
                                            <p:strVal val="1+ppt_h/2"/>
                                          </p:val>
                                        </p:tav>
                                      </p:tavLst>
                                    </p:anim>
                                    <p:set>
                                      <p:cBhvr>
                                        <p:cTn id="41" dur="1" fill="hold">
                                          <p:stCondLst>
                                            <p:cond delay="499"/>
                                          </p:stCondLst>
                                        </p:cTn>
                                        <p:tgtEl>
                                          <p:spTgt spid="6"/>
                                        </p:tgtEl>
                                        <p:attrNameLst>
                                          <p:attrName>style.visibility</p:attrName>
                                        </p:attrNameLst>
                                      </p:cBhvr>
                                      <p:to>
                                        <p:strVal val="hidden"/>
                                      </p:to>
                                    </p:set>
                                  </p:childTnLst>
                                </p:cTn>
                              </p:par>
                              <p:par>
                                <p:cTn id="42" presetID="1" presetClass="mediacall" presetSubtype="0" fill="hold" nodeType="withEffect">
                                  <p:stCondLst>
                                    <p:cond delay="0"/>
                                  </p:stCondLst>
                                  <p:childTnLst>
                                    <p:cmd type="call" cmd="playFrom(0.0)">
                                      <p:cBhvr>
                                        <p:cTn id="43" dur="1646" fill="hold"/>
                                        <p:tgtEl>
                                          <p:spTgt spid="7"/>
                                        </p:tgtEl>
                                      </p:cBhvr>
                                    </p:cmd>
                                  </p:childTnLst>
                                </p:cTn>
                              </p:par>
                            </p:childTnLst>
                          </p:cTn>
                        </p:par>
                      </p:childTnLst>
                    </p:cTn>
                  </p:par>
                  <p:par>
                    <p:cTn id="44" fill="hold">
                      <p:stCondLst>
                        <p:cond delay="indefinite"/>
                      </p:stCondLst>
                      <p:childTnLst>
                        <p:par>
                          <p:cTn id="45" fill="hold">
                            <p:stCondLst>
                              <p:cond delay="0"/>
                            </p:stCondLst>
                            <p:childTnLst>
                              <p:par>
                                <p:cTn id="46" presetID="14" presetClass="entr" presetSubtype="10" fill="hold" nodeType="click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randombar(horizontal)">
                                      <p:cBhvr>
                                        <p:cTn id="48" dur="500"/>
                                        <p:tgtEl>
                                          <p:spTgt spid="8"/>
                                        </p:tgtEl>
                                      </p:cBhvr>
                                    </p:animEffect>
                                  </p:childTnLst>
                                </p:cTn>
                              </p:par>
                              <p:par>
                                <p:cTn id="49" presetID="53" presetClass="entr" presetSubtype="16"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 calcmode="lin" valueType="num">
                                      <p:cBhvr>
                                        <p:cTn id="51" dur="500" fill="hold"/>
                                        <p:tgtEl>
                                          <p:spTgt spid="11"/>
                                        </p:tgtEl>
                                        <p:attrNameLst>
                                          <p:attrName>ppt_w</p:attrName>
                                        </p:attrNameLst>
                                      </p:cBhvr>
                                      <p:tavLst>
                                        <p:tav tm="0">
                                          <p:val>
                                            <p:fltVal val="0"/>
                                          </p:val>
                                        </p:tav>
                                        <p:tav tm="100000">
                                          <p:val>
                                            <p:strVal val="#ppt_w"/>
                                          </p:val>
                                        </p:tav>
                                      </p:tavLst>
                                    </p:anim>
                                    <p:anim calcmode="lin" valueType="num">
                                      <p:cBhvr>
                                        <p:cTn id="52" dur="500" fill="hold"/>
                                        <p:tgtEl>
                                          <p:spTgt spid="11"/>
                                        </p:tgtEl>
                                        <p:attrNameLst>
                                          <p:attrName>ppt_h</p:attrName>
                                        </p:attrNameLst>
                                      </p:cBhvr>
                                      <p:tavLst>
                                        <p:tav tm="0">
                                          <p:val>
                                            <p:fltVal val="0"/>
                                          </p:val>
                                        </p:tav>
                                        <p:tav tm="100000">
                                          <p:val>
                                            <p:strVal val="#ppt_h"/>
                                          </p:val>
                                        </p:tav>
                                      </p:tavLst>
                                    </p:anim>
                                    <p:animEffect transition="in" filter="fade">
                                      <p:cBhvr>
                                        <p:cTn id="53" dur="500"/>
                                        <p:tgtEl>
                                          <p:spTgt spid="11"/>
                                        </p:tgtEl>
                                      </p:cBhvr>
                                    </p:animEffect>
                                  </p:childTnLst>
                                </p:cTn>
                              </p:par>
                            </p:childTnLst>
                          </p:cTn>
                        </p:par>
                        <p:par>
                          <p:cTn id="54" fill="hold">
                            <p:stCondLst>
                              <p:cond delay="500"/>
                            </p:stCondLst>
                            <p:childTnLst>
                              <p:par>
                                <p:cTn id="55" presetID="32" presetClass="emph" presetSubtype="0" fill="hold" nodeType="afterEffect">
                                  <p:stCondLst>
                                    <p:cond delay="0"/>
                                  </p:stCondLst>
                                  <p:childTnLst>
                                    <p:animRot by="120000">
                                      <p:cBhvr>
                                        <p:cTn id="56" dur="210" fill="hold">
                                          <p:stCondLst>
                                            <p:cond delay="0"/>
                                          </p:stCondLst>
                                        </p:cTn>
                                        <p:tgtEl>
                                          <p:spTgt spid="11"/>
                                        </p:tgtEl>
                                        <p:attrNameLst>
                                          <p:attrName>r</p:attrName>
                                        </p:attrNameLst>
                                      </p:cBhvr>
                                    </p:animRot>
                                    <p:animRot by="-240000">
                                      <p:cBhvr>
                                        <p:cTn id="57" dur="420" fill="hold">
                                          <p:stCondLst>
                                            <p:cond delay="420"/>
                                          </p:stCondLst>
                                        </p:cTn>
                                        <p:tgtEl>
                                          <p:spTgt spid="11"/>
                                        </p:tgtEl>
                                        <p:attrNameLst>
                                          <p:attrName>r</p:attrName>
                                        </p:attrNameLst>
                                      </p:cBhvr>
                                    </p:animRot>
                                    <p:animRot by="240000">
                                      <p:cBhvr>
                                        <p:cTn id="58" dur="420" fill="hold">
                                          <p:stCondLst>
                                            <p:cond delay="840"/>
                                          </p:stCondLst>
                                        </p:cTn>
                                        <p:tgtEl>
                                          <p:spTgt spid="11"/>
                                        </p:tgtEl>
                                        <p:attrNameLst>
                                          <p:attrName>r</p:attrName>
                                        </p:attrNameLst>
                                      </p:cBhvr>
                                    </p:animRot>
                                    <p:animRot by="-240000">
                                      <p:cBhvr>
                                        <p:cTn id="59" dur="420" fill="hold">
                                          <p:stCondLst>
                                            <p:cond delay="1260"/>
                                          </p:stCondLst>
                                        </p:cTn>
                                        <p:tgtEl>
                                          <p:spTgt spid="11"/>
                                        </p:tgtEl>
                                        <p:attrNameLst>
                                          <p:attrName>r</p:attrName>
                                        </p:attrNameLst>
                                      </p:cBhvr>
                                    </p:animRot>
                                    <p:animRot by="120000">
                                      <p:cBhvr>
                                        <p:cTn id="60" dur="420" fill="hold">
                                          <p:stCondLst>
                                            <p:cond delay="1680"/>
                                          </p:stCondLst>
                                        </p:cTn>
                                        <p:tgtEl>
                                          <p:spTgt spid="11"/>
                                        </p:tgtEl>
                                        <p:attrNameLst>
                                          <p:attrName>r</p:attrName>
                                        </p:attrNameLst>
                                      </p:cBhvr>
                                    </p:animRot>
                                  </p:childTnLst>
                                </p:cTn>
                              </p:par>
                            </p:childTnLst>
                          </p:cTn>
                        </p:par>
                      </p:childTnLst>
                    </p:cTn>
                  </p:par>
                  <p:par>
                    <p:cTn id="61" fill="hold">
                      <p:stCondLst>
                        <p:cond delay="indefinite"/>
                      </p:stCondLst>
                      <p:childTnLst>
                        <p:par>
                          <p:cTn id="62" fill="hold">
                            <p:stCondLst>
                              <p:cond delay="0"/>
                            </p:stCondLst>
                            <p:childTnLst>
                              <p:par>
                                <p:cTn id="63" presetID="2" presetClass="exit" presetSubtype="4" fill="hold" nodeType="clickEffect">
                                  <p:stCondLst>
                                    <p:cond delay="0"/>
                                  </p:stCondLst>
                                  <p:childTnLst>
                                    <p:anim calcmode="lin" valueType="num">
                                      <p:cBhvr additive="base">
                                        <p:cTn id="64" dur="500"/>
                                        <p:tgtEl>
                                          <p:spTgt spid="11"/>
                                        </p:tgtEl>
                                        <p:attrNameLst>
                                          <p:attrName>ppt_x</p:attrName>
                                        </p:attrNameLst>
                                      </p:cBhvr>
                                      <p:tavLst>
                                        <p:tav tm="0">
                                          <p:val>
                                            <p:strVal val="ppt_x"/>
                                          </p:val>
                                        </p:tav>
                                        <p:tav tm="100000">
                                          <p:val>
                                            <p:strVal val="ppt_x"/>
                                          </p:val>
                                        </p:tav>
                                      </p:tavLst>
                                    </p:anim>
                                    <p:anim calcmode="lin" valueType="num">
                                      <p:cBhvr additive="base">
                                        <p:cTn id="65" dur="500"/>
                                        <p:tgtEl>
                                          <p:spTgt spid="11"/>
                                        </p:tgtEl>
                                        <p:attrNameLst>
                                          <p:attrName>ppt_y</p:attrName>
                                        </p:attrNameLst>
                                      </p:cBhvr>
                                      <p:tavLst>
                                        <p:tav tm="0">
                                          <p:val>
                                            <p:strVal val="ppt_y"/>
                                          </p:val>
                                        </p:tav>
                                        <p:tav tm="100000">
                                          <p:val>
                                            <p:strVal val="1+ppt_h/2"/>
                                          </p:val>
                                        </p:tav>
                                      </p:tavLst>
                                    </p:anim>
                                    <p:set>
                                      <p:cBhvr>
                                        <p:cTn id="66" dur="1" fill="hold">
                                          <p:stCondLst>
                                            <p:cond delay="499"/>
                                          </p:stCondLst>
                                        </p:cTn>
                                        <p:tgtEl>
                                          <p:spTgt spid="11"/>
                                        </p:tgtEl>
                                        <p:attrNameLst>
                                          <p:attrName>style.visibility</p:attrName>
                                        </p:attrNameLst>
                                      </p:cBhvr>
                                      <p:to>
                                        <p:strVal val="hidden"/>
                                      </p:to>
                                    </p:set>
                                  </p:childTnLst>
                                </p:cTn>
                              </p:par>
                              <p:par>
                                <p:cTn id="67" presetID="1" presetClass="mediacall" presetSubtype="0" fill="hold" nodeType="withEffect">
                                  <p:stCondLst>
                                    <p:cond delay="0"/>
                                  </p:stCondLst>
                                  <p:childTnLst>
                                    <p:cmd type="call" cmd="playFrom(0.0)">
                                      <p:cBhvr>
                                        <p:cTn id="68" dur="1646"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69" fill="hold" display="0">
                  <p:stCondLst>
                    <p:cond delay="indefinite"/>
                  </p:stCondLst>
                  <p:endCondLst>
                    <p:cond evt="onStopAudio" delay="0">
                      <p:tgtEl>
                        <p:sldTgt/>
                      </p:tgtEl>
                    </p:cond>
                  </p:endCondLst>
                </p:cTn>
                <p:tgtEl>
                  <p:spTgt spid="7"/>
                </p:tgtEl>
              </p:cMediaNode>
            </p:audio>
            <p:audio>
              <p:cMediaNode vol="80000">
                <p:cTn id="70" fill="hold" display="0">
                  <p:stCondLst>
                    <p:cond delay="indefinite"/>
                  </p:stCondLst>
                  <p:endCondLst>
                    <p:cond evt="onStopAudio" delay="0">
                      <p:tgtEl>
                        <p:sldTgt/>
                      </p:tgtEl>
                    </p:cond>
                  </p:endCondLst>
                </p:cTn>
                <p:tgtEl>
                  <p:spTgt spid="1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933299-3D9C-F432-9FA9-409C0081A19B}"/>
              </a:ext>
            </a:extLst>
          </p:cNvPr>
          <p:cNvPicPr>
            <a:picLocks noChangeAspect="1"/>
          </p:cNvPicPr>
          <p:nvPr/>
        </p:nvPicPr>
        <p:blipFill>
          <a:blip r:embed="rId4"/>
          <a:stretch>
            <a:fillRect/>
          </a:stretch>
        </p:blipFill>
        <p:spPr>
          <a:xfrm>
            <a:off x="685800" y="304800"/>
            <a:ext cx="11126164" cy="1109568"/>
          </a:xfrm>
          <a:prstGeom prst="rect">
            <a:avLst/>
          </a:prstGeom>
        </p:spPr>
      </p:pic>
      <p:pic>
        <p:nvPicPr>
          <p:cNvPr id="3" name="Picture 2">
            <a:extLst>
              <a:ext uri="{FF2B5EF4-FFF2-40B4-BE49-F238E27FC236}">
                <a16:creationId xmlns:a16="http://schemas.microsoft.com/office/drawing/2014/main" id="{85353892-7B1D-0FFF-8BD6-B219C888A45A}"/>
              </a:ext>
            </a:extLst>
          </p:cNvPr>
          <p:cNvPicPr>
            <a:picLocks noChangeAspect="1"/>
          </p:cNvPicPr>
          <p:nvPr/>
        </p:nvPicPr>
        <p:blipFill>
          <a:blip r:embed="rId5"/>
          <a:stretch>
            <a:fillRect/>
          </a:stretch>
        </p:blipFill>
        <p:spPr>
          <a:xfrm>
            <a:off x="914400" y="1414368"/>
            <a:ext cx="3657600" cy="5173360"/>
          </a:xfrm>
          <a:prstGeom prst="rect">
            <a:avLst/>
          </a:prstGeom>
        </p:spPr>
      </p:pic>
      <p:pic>
        <p:nvPicPr>
          <p:cNvPr id="4" name="Picture 3" descr="A yellow cartoon face with white hand on it&#10;&#10;AI-generated content may be incorrect.">
            <a:extLst>
              <a:ext uri="{FF2B5EF4-FFF2-40B4-BE49-F238E27FC236}">
                <a16:creationId xmlns:a16="http://schemas.microsoft.com/office/drawing/2014/main" id="{100FF56B-315B-1974-C981-8C6F4C5A5704}"/>
              </a:ext>
            </a:extLst>
          </p:cNvPr>
          <p:cNvPicPr>
            <a:picLocks noChangeAspect="1"/>
          </p:cNvPicPr>
          <p:nvPr/>
        </p:nvPicPr>
        <p:blipFill>
          <a:blip r:embed="rId6" cstate="hqprint">
            <a:extLst>
              <a:ext uri="{28A0092B-C50C-407E-A947-70E740481C1C}">
                <a14:useLocalDpi xmlns:a14="http://schemas.microsoft.com/office/drawing/2010/main" val="0"/>
              </a:ext>
            </a:extLst>
          </a:blip>
          <a:srcRect l="10222" t="12330" r="12000" b="12114"/>
          <a:stretch/>
        </p:blipFill>
        <p:spPr>
          <a:xfrm>
            <a:off x="1371600" y="1752600"/>
            <a:ext cx="2438400" cy="2368731"/>
          </a:xfrm>
          <a:prstGeom prst="rect">
            <a:avLst/>
          </a:prstGeom>
        </p:spPr>
      </p:pic>
      <p:pic>
        <p:nvPicPr>
          <p:cNvPr id="5" name="Am-thanh-ta-da-cua-dan-nhac-www_tiengdong_com">
            <a:hlinkClick r:id="" action="ppaction://media"/>
            <a:extLst>
              <a:ext uri="{FF2B5EF4-FFF2-40B4-BE49-F238E27FC236}">
                <a16:creationId xmlns:a16="http://schemas.microsoft.com/office/drawing/2014/main" id="{6B2A809B-3A7D-B5EA-AD9F-E25B037A1F85}"/>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1055610" y="-505997"/>
            <a:ext cx="406400" cy="406400"/>
          </a:xfrm>
          <a:prstGeom prst="rect">
            <a:avLst/>
          </a:prstGeom>
        </p:spPr>
      </p:pic>
      <p:pic>
        <p:nvPicPr>
          <p:cNvPr id="6" name="Picture 5">
            <a:extLst>
              <a:ext uri="{FF2B5EF4-FFF2-40B4-BE49-F238E27FC236}">
                <a16:creationId xmlns:a16="http://schemas.microsoft.com/office/drawing/2014/main" id="{5B0FE3C2-8D3E-F545-CD0F-E66EFF0B158F}"/>
              </a:ext>
            </a:extLst>
          </p:cNvPr>
          <p:cNvPicPr>
            <a:picLocks noChangeAspect="1"/>
          </p:cNvPicPr>
          <p:nvPr/>
        </p:nvPicPr>
        <p:blipFill>
          <a:blip r:embed="rId8"/>
          <a:stretch>
            <a:fillRect/>
          </a:stretch>
        </p:blipFill>
        <p:spPr>
          <a:xfrm>
            <a:off x="6477000" y="1419384"/>
            <a:ext cx="3657599" cy="5168344"/>
          </a:xfrm>
          <a:prstGeom prst="rect">
            <a:avLst/>
          </a:prstGeom>
        </p:spPr>
      </p:pic>
      <p:pic>
        <p:nvPicPr>
          <p:cNvPr id="7" name="Picture 6" descr="A yellow cartoon face with white hand on it&#10;&#10;AI-generated content may be incorrect.">
            <a:extLst>
              <a:ext uri="{FF2B5EF4-FFF2-40B4-BE49-F238E27FC236}">
                <a16:creationId xmlns:a16="http://schemas.microsoft.com/office/drawing/2014/main" id="{FC8DDCB9-02ED-4379-BFA4-C6D63A21CA31}"/>
              </a:ext>
            </a:extLst>
          </p:cNvPr>
          <p:cNvPicPr>
            <a:picLocks noChangeAspect="1"/>
          </p:cNvPicPr>
          <p:nvPr/>
        </p:nvPicPr>
        <p:blipFill>
          <a:blip r:embed="rId6">
            <a:extLst>
              <a:ext uri="{28A0092B-C50C-407E-A947-70E740481C1C}">
                <a14:useLocalDpi xmlns:a14="http://schemas.microsoft.com/office/drawing/2010/main" val="0"/>
              </a:ext>
            </a:extLst>
          </a:blip>
          <a:srcRect l="10222" t="12330" r="12000" b="12114"/>
          <a:stretch/>
        </p:blipFill>
        <p:spPr>
          <a:xfrm>
            <a:off x="6848322" y="1818765"/>
            <a:ext cx="2667000" cy="2590800"/>
          </a:xfrm>
          <a:prstGeom prst="rect">
            <a:avLst/>
          </a:prstGeom>
        </p:spPr>
      </p:pic>
      <p:pic>
        <p:nvPicPr>
          <p:cNvPr id="8" name="Am-thanh-ta-da-cua-dan-nhac-www_tiengdong_com">
            <a:hlinkClick r:id="" action="ppaction://media"/>
            <a:extLst>
              <a:ext uri="{FF2B5EF4-FFF2-40B4-BE49-F238E27FC236}">
                <a16:creationId xmlns:a16="http://schemas.microsoft.com/office/drawing/2014/main" id="{55C8087A-12FA-AC13-0F79-B7609E91A2E5}"/>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2798050" y="274320"/>
            <a:ext cx="406400" cy="406400"/>
          </a:xfrm>
          <a:prstGeom prst="rect">
            <a:avLst/>
          </a:prstGeom>
        </p:spPr>
      </p:pic>
    </p:spTree>
    <p:extLst>
      <p:ext uri="{BB962C8B-B14F-4D97-AF65-F5344CB8AC3E}">
        <p14:creationId xmlns:p14="http://schemas.microsoft.com/office/powerpoint/2010/main" val="272808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32" presetClass="emph" presetSubtype="0" fill="hold" nodeType="afterEffect">
                                  <p:stCondLst>
                                    <p:cond delay="0"/>
                                  </p:stCondLst>
                                  <p:childTnLst>
                                    <p:animRot by="120000">
                                      <p:cBhvr>
                                        <p:cTn id="12" dur="100" fill="hold">
                                          <p:stCondLst>
                                            <p:cond delay="0"/>
                                          </p:stCondLst>
                                        </p:cTn>
                                        <p:tgtEl>
                                          <p:spTgt spid="2"/>
                                        </p:tgtEl>
                                        <p:attrNameLst>
                                          <p:attrName>r</p:attrName>
                                        </p:attrNameLst>
                                      </p:cBhvr>
                                    </p:animRot>
                                    <p:animRot by="-240000">
                                      <p:cBhvr>
                                        <p:cTn id="13" dur="200" fill="hold">
                                          <p:stCondLst>
                                            <p:cond delay="200"/>
                                          </p:stCondLst>
                                        </p:cTn>
                                        <p:tgtEl>
                                          <p:spTgt spid="2"/>
                                        </p:tgtEl>
                                        <p:attrNameLst>
                                          <p:attrName>r</p:attrName>
                                        </p:attrNameLst>
                                      </p:cBhvr>
                                    </p:animRot>
                                    <p:animRot by="240000">
                                      <p:cBhvr>
                                        <p:cTn id="14" dur="200" fill="hold">
                                          <p:stCondLst>
                                            <p:cond delay="400"/>
                                          </p:stCondLst>
                                        </p:cTn>
                                        <p:tgtEl>
                                          <p:spTgt spid="2"/>
                                        </p:tgtEl>
                                        <p:attrNameLst>
                                          <p:attrName>r</p:attrName>
                                        </p:attrNameLst>
                                      </p:cBhvr>
                                    </p:animRot>
                                    <p:animRot by="-240000">
                                      <p:cBhvr>
                                        <p:cTn id="15" dur="200" fill="hold">
                                          <p:stCondLst>
                                            <p:cond delay="600"/>
                                          </p:stCondLst>
                                        </p:cTn>
                                        <p:tgtEl>
                                          <p:spTgt spid="2"/>
                                        </p:tgtEl>
                                        <p:attrNameLst>
                                          <p:attrName>r</p:attrName>
                                        </p:attrNameLst>
                                      </p:cBhvr>
                                    </p:animRot>
                                    <p:animRot by="120000">
                                      <p:cBhvr>
                                        <p:cTn id="16" dur="200" fill="hold">
                                          <p:stCondLst>
                                            <p:cond delay="800"/>
                                          </p:stCondLst>
                                        </p:cTn>
                                        <p:tgtEl>
                                          <p:spTgt spid="2"/>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barn(inVertical)">
                                      <p:cBhvr>
                                        <p:cTn id="21" dur="500"/>
                                        <p:tgtEl>
                                          <p:spTgt spid="3"/>
                                        </p:tgtEl>
                                      </p:cBhvr>
                                    </p:animEffect>
                                  </p:childTnLst>
                                </p:cTn>
                              </p:par>
                              <p:par>
                                <p:cTn id="22" presetID="53" presetClass="entr" presetSubtype="16"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p:cTn id="24" dur="500" fill="hold"/>
                                        <p:tgtEl>
                                          <p:spTgt spid="4"/>
                                        </p:tgtEl>
                                        <p:attrNameLst>
                                          <p:attrName>ppt_w</p:attrName>
                                        </p:attrNameLst>
                                      </p:cBhvr>
                                      <p:tavLst>
                                        <p:tav tm="0">
                                          <p:val>
                                            <p:fltVal val="0"/>
                                          </p:val>
                                        </p:tav>
                                        <p:tav tm="100000">
                                          <p:val>
                                            <p:strVal val="#ppt_w"/>
                                          </p:val>
                                        </p:tav>
                                      </p:tavLst>
                                    </p:anim>
                                    <p:anim calcmode="lin" valueType="num">
                                      <p:cBhvr>
                                        <p:cTn id="25" dur="500" fill="hold"/>
                                        <p:tgtEl>
                                          <p:spTgt spid="4"/>
                                        </p:tgtEl>
                                        <p:attrNameLst>
                                          <p:attrName>ppt_h</p:attrName>
                                        </p:attrNameLst>
                                      </p:cBhvr>
                                      <p:tavLst>
                                        <p:tav tm="0">
                                          <p:val>
                                            <p:fltVal val="0"/>
                                          </p:val>
                                        </p:tav>
                                        <p:tav tm="100000">
                                          <p:val>
                                            <p:strVal val="#ppt_h"/>
                                          </p:val>
                                        </p:tav>
                                      </p:tavLst>
                                    </p:anim>
                                    <p:animEffect transition="in" filter="fade">
                                      <p:cBhvr>
                                        <p:cTn id="26" dur="500"/>
                                        <p:tgtEl>
                                          <p:spTgt spid="4"/>
                                        </p:tgtEl>
                                      </p:cBhvr>
                                    </p:animEffect>
                                  </p:childTnLst>
                                </p:cTn>
                              </p:par>
                            </p:childTnLst>
                          </p:cTn>
                        </p:par>
                        <p:par>
                          <p:cTn id="27" fill="hold">
                            <p:stCondLst>
                              <p:cond delay="500"/>
                            </p:stCondLst>
                            <p:childTnLst>
                              <p:par>
                                <p:cTn id="28" presetID="32" presetClass="emph" presetSubtype="0" fill="hold" nodeType="afterEffect">
                                  <p:stCondLst>
                                    <p:cond delay="0"/>
                                  </p:stCondLst>
                                  <p:childTnLst>
                                    <p:animRot by="120000">
                                      <p:cBhvr>
                                        <p:cTn id="29" dur="210" fill="hold">
                                          <p:stCondLst>
                                            <p:cond delay="0"/>
                                          </p:stCondLst>
                                        </p:cTn>
                                        <p:tgtEl>
                                          <p:spTgt spid="4"/>
                                        </p:tgtEl>
                                        <p:attrNameLst>
                                          <p:attrName>r</p:attrName>
                                        </p:attrNameLst>
                                      </p:cBhvr>
                                    </p:animRot>
                                    <p:animRot by="-240000">
                                      <p:cBhvr>
                                        <p:cTn id="30" dur="420" fill="hold">
                                          <p:stCondLst>
                                            <p:cond delay="420"/>
                                          </p:stCondLst>
                                        </p:cTn>
                                        <p:tgtEl>
                                          <p:spTgt spid="4"/>
                                        </p:tgtEl>
                                        <p:attrNameLst>
                                          <p:attrName>r</p:attrName>
                                        </p:attrNameLst>
                                      </p:cBhvr>
                                    </p:animRot>
                                    <p:animRot by="240000">
                                      <p:cBhvr>
                                        <p:cTn id="31" dur="420" fill="hold">
                                          <p:stCondLst>
                                            <p:cond delay="840"/>
                                          </p:stCondLst>
                                        </p:cTn>
                                        <p:tgtEl>
                                          <p:spTgt spid="4"/>
                                        </p:tgtEl>
                                        <p:attrNameLst>
                                          <p:attrName>r</p:attrName>
                                        </p:attrNameLst>
                                      </p:cBhvr>
                                    </p:animRot>
                                    <p:animRot by="-240000">
                                      <p:cBhvr>
                                        <p:cTn id="32" dur="420" fill="hold">
                                          <p:stCondLst>
                                            <p:cond delay="1260"/>
                                          </p:stCondLst>
                                        </p:cTn>
                                        <p:tgtEl>
                                          <p:spTgt spid="4"/>
                                        </p:tgtEl>
                                        <p:attrNameLst>
                                          <p:attrName>r</p:attrName>
                                        </p:attrNameLst>
                                      </p:cBhvr>
                                    </p:animRot>
                                    <p:animRot by="120000">
                                      <p:cBhvr>
                                        <p:cTn id="33" dur="420" fill="hold">
                                          <p:stCondLst>
                                            <p:cond delay="1680"/>
                                          </p:stCondLst>
                                        </p:cTn>
                                        <p:tgtEl>
                                          <p:spTgt spid="4"/>
                                        </p:tgtEl>
                                        <p:attrNameLst>
                                          <p:attrName>r</p:attrName>
                                        </p:attrNameLst>
                                      </p:cBhvr>
                                    </p:animRot>
                                  </p:childTnLst>
                                </p:cTn>
                              </p:par>
                            </p:childTnLst>
                          </p:cTn>
                        </p:par>
                      </p:childTnLst>
                    </p:cTn>
                  </p:par>
                  <p:par>
                    <p:cTn id="34" fill="hold">
                      <p:stCondLst>
                        <p:cond delay="indefinite"/>
                      </p:stCondLst>
                      <p:childTnLst>
                        <p:par>
                          <p:cTn id="35" fill="hold">
                            <p:stCondLst>
                              <p:cond delay="0"/>
                            </p:stCondLst>
                            <p:childTnLst>
                              <p:par>
                                <p:cTn id="36" presetID="2" presetClass="exit" presetSubtype="4" fill="hold" nodeType="clickEffect">
                                  <p:stCondLst>
                                    <p:cond delay="0"/>
                                  </p:stCondLst>
                                  <p:childTnLst>
                                    <p:anim calcmode="lin" valueType="num">
                                      <p:cBhvr additive="base">
                                        <p:cTn id="37" dur="500"/>
                                        <p:tgtEl>
                                          <p:spTgt spid="4"/>
                                        </p:tgtEl>
                                        <p:attrNameLst>
                                          <p:attrName>ppt_x</p:attrName>
                                        </p:attrNameLst>
                                      </p:cBhvr>
                                      <p:tavLst>
                                        <p:tav tm="0">
                                          <p:val>
                                            <p:strVal val="ppt_x"/>
                                          </p:val>
                                        </p:tav>
                                        <p:tav tm="100000">
                                          <p:val>
                                            <p:strVal val="ppt_x"/>
                                          </p:val>
                                        </p:tav>
                                      </p:tavLst>
                                    </p:anim>
                                    <p:anim calcmode="lin" valueType="num">
                                      <p:cBhvr additive="base">
                                        <p:cTn id="38" dur="500"/>
                                        <p:tgtEl>
                                          <p:spTgt spid="4"/>
                                        </p:tgtEl>
                                        <p:attrNameLst>
                                          <p:attrName>ppt_y</p:attrName>
                                        </p:attrNameLst>
                                      </p:cBhvr>
                                      <p:tavLst>
                                        <p:tav tm="0">
                                          <p:val>
                                            <p:strVal val="ppt_y"/>
                                          </p:val>
                                        </p:tav>
                                        <p:tav tm="100000">
                                          <p:val>
                                            <p:strVal val="1+ppt_h/2"/>
                                          </p:val>
                                        </p:tav>
                                      </p:tavLst>
                                    </p:anim>
                                    <p:set>
                                      <p:cBhvr>
                                        <p:cTn id="39" dur="1" fill="hold">
                                          <p:stCondLst>
                                            <p:cond delay="499"/>
                                          </p:stCondLst>
                                        </p:cTn>
                                        <p:tgtEl>
                                          <p:spTgt spid="4"/>
                                        </p:tgtEl>
                                        <p:attrNameLst>
                                          <p:attrName>style.visibility</p:attrName>
                                        </p:attrNameLst>
                                      </p:cBhvr>
                                      <p:to>
                                        <p:strVal val="hidden"/>
                                      </p:to>
                                    </p:set>
                                  </p:childTnLst>
                                </p:cTn>
                              </p:par>
                              <p:par>
                                <p:cTn id="40" presetID="1" presetClass="mediacall" presetSubtype="0" fill="hold" nodeType="withEffect">
                                  <p:stCondLst>
                                    <p:cond delay="0"/>
                                  </p:stCondLst>
                                  <p:childTnLst>
                                    <p:cmd type="call" cmd="playFrom(0.0)">
                                      <p:cBhvr>
                                        <p:cTn id="41" dur="1646" fill="hold"/>
                                        <p:tgtEl>
                                          <p:spTgt spid="5"/>
                                        </p:tgtEl>
                                      </p:cBhvr>
                                    </p:cmd>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nodeType="click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randombar(horizontal)">
                                      <p:cBhvr>
                                        <p:cTn id="46" dur="500"/>
                                        <p:tgtEl>
                                          <p:spTgt spid="6"/>
                                        </p:tgtEl>
                                      </p:cBhvr>
                                    </p:animEffect>
                                  </p:childTnLst>
                                </p:cTn>
                              </p:par>
                              <p:par>
                                <p:cTn id="47" presetID="53" presetClass="entr" presetSubtype="16" fill="hold" nodeType="with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p:cTn id="49" dur="500" fill="hold"/>
                                        <p:tgtEl>
                                          <p:spTgt spid="7"/>
                                        </p:tgtEl>
                                        <p:attrNameLst>
                                          <p:attrName>ppt_w</p:attrName>
                                        </p:attrNameLst>
                                      </p:cBhvr>
                                      <p:tavLst>
                                        <p:tav tm="0">
                                          <p:val>
                                            <p:fltVal val="0"/>
                                          </p:val>
                                        </p:tav>
                                        <p:tav tm="100000">
                                          <p:val>
                                            <p:strVal val="#ppt_w"/>
                                          </p:val>
                                        </p:tav>
                                      </p:tavLst>
                                    </p:anim>
                                    <p:anim calcmode="lin" valueType="num">
                                      <p:cBhvr>
                                        <p:cTn id="50" dur="500" fill="hold"/>
                                        <p:tgtEl>
                                          <p:spTgt spid="7"/>
                                        </p:tgtEl>
                                        <p:attrNameLst>
                                          <p:attrName>ppt_h</p:attrName>
                                        </p:attrNameLst>
                                      </p:cBhvr>
                                      <p:tavLst>
                                        <p:tav tm="0">
                                          <p:val>
                                            <p:fltVal val="0"/>
                                          </p:val>
                                        </p:tav>
                                        <p:tav tm="100000">
                                          <p:val>
                                            <p:strVal val="#ppt_h"/>
                                          </p:val>
                                        </p:tav>
                                      </p:tavLst>
                                    </p:anim>
                                    <p:animEffect transition="in" filter="fade">
                                      <p:cBhvr>
                                        <p:cTn id="51" dur="500"/>
                                        <p:tgtEl>
                                          <p:spTgt spid="7"/>
                                        </p:tgtEl>
                                      </p:cBhvr>
                                    </p:animEffect>
                                  </p:childTnLst>
                                </p:cTn>
                              </p:par>
                            </p:childTnLst>
                          </p:cTn>
                        </p:par>
                        <p:par>
                          <p:cTn id="52" fill="hold">
                            <p:stCondLst>
                              <p:cond delay="500"/>
                            </p:stCondLst>
                            <p:childTnLst>
                              <p:par>
                                <p:cTn id="53" presetID="32" presetClass="emph" presetSubtype="0" fill="hold" nodeType="afterEffect">
                                  <p:stCondLst>
                                    <p:cond delay="0"/>
                                  </p:stCondLst>
                                  <p:childTnLst>
                                    <p:animRot by="120000">
                                      <p:cBhvr>
                                        <p:cTn id="54" dur="210" fill="hold">
                                          <p:stCondLst>
                                            <p:cond delay="0"/>
                                          </p:stCondLst>
                                        </p:cTn>
                                        <p:tgtEl>
                                          <p:spTgt spid="7"/>
                                        </p:tgtEl>
                                        <p:attrNameLst>
                                          <p:attrName>r</p:attrName>
                                        </p:attrNameLst>
                                      </p:cBhvr>
                                    </p:animRot>
                                    <p:animRot by="-240000">
                                      <p:cBhvr>
                                        <p:cTn id="55" dur="420" fill="hold">
                                          <p:stCondLst>
                                            <p:cond delay="420"/>
                                          </p:stCondLst>
                                        </p:cTn>
                                        <p:tgtEl>
                                          <p:spTgt spid="7"/>
                                        </p:tgtEl>
                                        <p:attrNameLst>
                                          <p:attrName>r</p:attrName>
                                        </p:attrNameLst>
                                      </p:cBhvr>
                                    </p:animRot>
                                    <p:animRot by="240000">
                                      <p:cBhvr>
                                        <p:cTn id="56" dur="420" fill="hold">
                                          <p:stCondLst>
                                            <p:cond delay="840"/>
                                          </p:stCondLst>
                                        </p:cTn>
                                        <p:tgtEl>
                                          <p:spTgt spid="7"/>
                                        </p:tgtEl>
                                        <p:attrNameLst>
                                          <p:attrName>r</p:attrName>
                                        </p:attrNameLst>
                                      </p:cBhvr>
                                    </p:animRot>
                                    <p:animRot by="-240000">
                                      <p:cBhvr>
                                        <p:cTn id="57" dur="420" fill="hold">
                                          <p:stCondLst>
                                            <p:cond delay="1260"/>
                                          </p:stCondLst>
                                        </p:cTn>
                                        <p:tgtEl>
                                          <p:spTgt spid="7"/>
                                        </p:tgtEl>
                                        <p:attrNameLst>
                                          <p:attrName>r</p:attrName>
                                        </p:attrNameLst>
                                      </p:cBhvr>
                                    </p:animRot>
                                    <p:animRot by="120000">
                                      <p:cBhvr>
                                        <p:cTn id="58" dur="420" fill="hold">
                                          <p:stCondLst>
                                            <p:cond delay="1680"/>
                                          </p:stCondLst>
                                        </p:cTn>
                                        <p:tgtEl>
                                          <p:spTgt spid="7"/>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2" presetClass="exit" presetSubtype="4" fill="hold" nodeType="clickEffect">
                                  <p:stCondLst>
                                    <p:cond delay="0"/>
                                  </p:stCondLst>
                                  <p:childTnLst>
                                    <p:anim calcmode="lin" valueType="num">
                                      <p:cBhvr additive="base">
                                        <p:cTn id="62" dur="500"/>
                                        <p:tgtEl>
                                          <p:spTgt spid="7"/>
                                        </p:tgtEl>
                                        <p:attrNameLst>
                                          <p:attrName>ppt_x</p:attrName>
                                        </p:attrNameLst>
                                      </p:cBhvr>
                                      <p:tavLst>
                                        <p:tav tm="0">
                                          <p:val>
                                            <p:strVal val="ppt_x"/>
                                          </p:val>
                                        </p:tav>
                                        <p:tav tm="100000">
                                          <p:val>
                                            <p:strVal val="ppt_x"/>
                                          </p:val>
                                        </p:tav>
                                      </p:tavLst>
                                    </p:anim>
                                    <p:anim calcmode="lin" valueType="num">
                                      <p:cBhvr additive="base">
                                        <p:cTn id="63" dur="500"/>
                                        <p:tgtEl>
                                          <p:spTgt spid="7"/>
                                        </p:tgtEl>
                                        <p:attrNameLst>
                                          <p:attrName>ppt_y</p:attrName>
                                        </p:attrNameLst>
                                      </p:cBhvr>
                                      <p:tavLst>
                                        <p:tav tm="0">
                                          <p:val>
                                            <p:strVal val="ppt_y"/>
                                          </p:val>
                                        </p:tav>
                                        <p:tav tm="100000">
                                          <p:val>
                                            <p:strVal val="1+ppt_h/2"/>
                                          </p:val>
                                        </p:tav>
                                      </p:tavLst>
                                    </p:anim>
                                    <p:set>
                                      <p:cBhvr>
                                        <p:cTn id="64" dur="1" fill="hold">
                                          <p:stCondLst>
                                            <p:cond delay="499"/>
                                          </p:stCondLst>
                                        </p:cTn>
                                        <p:tgtEl>
                                          <p:spTgt spid="7"/>
                                        </p:tgtEl>
                                        <p:attrNameLst>
                                          <p:attrName>style.visibility</p:attrName>
                                        </p:attrNameLst>
                                      </p:cBhvr>
                                      <p:to>
                                        <p:strVal val="hidden"/>
                                      </p:to>
                                    </p:set>
                                  </p:childTnLst>
                                </p:cTn>
                              </p:par>
                              <p:par>
                                <p:cTn id="65" presetID="1" presetClass="mediacall" presetSubtype="0" fill="hold" nodeType="withEffect">
                                  <p:stCondLst>
                                    <p:cond delay="0"/>
                                  </p:stCondLst>
                                  <p:childTnLst>
                                    <p:cmd type="call" cmd="playFrom(0.0)">
                                      <p:cBhvr>
                                        <p:cTn id="66" dur="164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67" fill="hold" display="0">
                  <p:stCondLst>
                    <p:cond delay="indefinite"/>
                  </p:stCondLst>
                  <p:endCondLst>
                    <p:cond evt="onStopAudio" delay="0">
                      <p:tgtEl>
                        <p:sldTgt/>
                      </p:tgtEl>
                    </p:cond>
                  </p:endCondLst>
                </p:cTn>
                <p:tgtEl>
                  <p:spTgt spid="5"/>
                </p:tgtEl>
              </p:cMediaNode>
            </p:audio>
            <p:audio>
              <p:cMediaNode vol="80000">
                <p:cTn id="68" fill="hold" display="0">
                  <p:stCondLst>
                    <p:cond delay="indefinite"/>
                  </p:stCondLst>
                  <p:endCondLst>
                    <p:cond evt="onStopAudio" delay="0">
                      <p:tgtEl>
                        <p:sldTgt/>
                      </p:tgtEl>
                    </p:cond>
                  </p:endCondLst>
                </p:cTn>
                <p:tgtEl>
                  <p:spTgt spid="8"/>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65A1E1-3CD6-38C4-21F3-7086D910E651}"/>
              </a:ext>
            </a:extLst>
          </p:cNvPr>
          <p:cNvPicPr>
            <a:picLocks noChangeAspect="1"/>
          </p:cNvPicPr>
          <p:nvPr/>
        </p:nvPicPr>
        <p:blipFill>
          <a:blip r:embed="rId4"/>
          <a:stretch>
            <a:fillRect/>
          </a:stretch>
        </p:blipFill>
        <p:spPr>
          <a:xfrm>
            <a:off x="685800" y="135992"/>
            <a:ext cx="11126164" cy="1109568"/>
          </a:xfrm>
          <a:prstGeom prst="rect">
            <a:avLst/>
          </a:prstGeom>
        </p:spPr>
      </p:pic>
      <p:pic>
        <p:nvPicPr>
          <p:cNvPr id="3" name="Picture 2">
            <a:extLst>
              <a:ext uri="{FF2B5EF4-FFF2-40B4-BE49-F238E27FC236}">
                <a16:creationId xmlns:a16="http://schemas.microsoft.com/office/drawing/2014/main" id="{AE18AE1B-231B-DB95-7F68-01EA7ED27719}"/>
              </a:ext>
            </a:extLst>
          </p:cNvPr>
          <p:cNvPicPr>
            <a:picLocks noChangeAspect="1"/>
          </p:cNvPicPr>
          <p:nvPr/>
        </p:nvPicPr>
        <p:blipFill>
          <a:blip r:embed="rId5"/>
          <a:stretch>
            <a:fillRect/>
          </a:stretch>
        </p:blipFill>
        <p:spPr>
          <a:xfrm>
            <a:off x="914400" y="1504314"/>
            <a:ext cx="3627120" cy="5084446"/>
          </a:xfrm>
          <a:prstGeom prst="rect">
            <a:avLst/>
          </a:prstGeom>
        </p:spPr>
      </p:pic>
      <p:pic>
        <p:nvPicPr>
          <p:cNvPr id="4" name="Picture 3" descr="A yellow cartoon face with white hand on it&#10;&#10;AI-generated content may be incorrect.">
            <a:extLst>
              <a:ext uri="{FF2B5EF4-FFF2-40B4-BE49-F238E27FC236}">
                <a16:creationId xmlns:a16="http://schemas.microsoft.com/office/drawing/2014/main" id="{5589787A-05CB-607D-BEF2-F0C48A0EC2C5}"/>
              </a:ext>
            </a:extLst>
          </p:cNvPr>
          <p:cNvPicPr>
            <a:picLocks noChangeAspect="1"/>
          </p:cNvPicPr>
          <p:nvPr/>
        </p:nvPicPr>
        <p:blipFill>
          <a:blip r:embed="rId6" cstate="hqprint">
            <a:extLst>
              <a:ext uri="{28A0092B-C50C-407E-A947-70E740481C1C}">
                <a14:useLocalDpi xmlns:a14="http://schemas.microsoft.com/office/drawing/2010/main" val="0"/>
              </a:ext>
            </a:extLst>
          </a:blip>
          <a:srcRect l="10222" t="12330" r="12000" b="12114"/>
          <a:stretch/>
        </p:blipFill>
        <p:spPr>
          <a:xfrm>
            <a:off x="1371600" y="1529714"/>
            <a:ext cx="2438400" cy="2368731"/>
          </a:xfrm>
          <a:prstGeom prst="rect">
            <a:avLst/>
          </a:prstGeom>
        </p:spPr>
      </p:pic>
      <p:pic>
        <p:nvPicPr>
          <p:cNvPr id="5" name="Am-thanh-ta-da-cua-dan-nhac-www_tiengdong_com">
            <a:hlinkClick r:id="" action="ppaction://media"/>
            <a:extLst>
              <a:ext uri="{FF2B5EF4-FFF2-40B4-BE49-F238E27FC236}">
                <a16:creationId xmlns:a16="http://schemas.microsoft.com/office/drawing/2014/main" id="{D56A848F-53D2-FFD6-7F02-2D65D59AC0EF}"/>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1055610" y="-505997"/>
            <a:ext cx="406400" cy="406400"/>
          </a:xfrm>
          <a:prstGeom prst="rect">
            <a:avLst/>
          </a:prstGeom>
        </p:spPr>
      </p:pic>
      <p:pic>
        <p:nvPicPr>
          <p:cNvPr id="6" name="Picture 5">
            <a:extLst>
              <a:ext uri="{FF2B5EF4-FFF2-40B4-BE49-F238E27FC236}">
                <a16:creationId xmlns:a16="http://schemas.microsoft.com/office/drawing/2014/main" id="{212232B4-AB82-B640-C845-142B1117C112}"/>
              </a:ext>
            </a:extLst>
          </p:cNvPr>
          <p:cNvPicPr>
            <a:picLocks noChangeAspect="1"/>
          </p:cNvPicPr>
          <p:nvPr/>
        </p:nvPicPr>
        <p:blipFill>
          <a:blip r:embed="rId8"/>
          <a:stretch>
            <a:fillRect/>
          </a:stretch>
        </p:blipFill>
        <p:spPr>
          <a:xfrm>
            <a:off x="6629400" y="1452484"/>
            <a:ext cx="3581400" cy="5141356"/>
          </a:xfrm>
          <a:prstGeom prst="rect">
            <a:avLst/>
          </a:prstGeom>
        </p:spPr>
      </p:pic>
      <p:pic>
        <p:nvPicPr>
          <p:cNvPr id="7" name="Picture 6" descr="A yellow cartoon face with white hand on it&#10;&#10;AI-generated content may be incorrect.">
            <a:extLst>
              <a:ext uri="{FF2B5EF4-FFF2-40B4-BE49-F238E27FC236}">
                <a16:creationId xmlns:a16="http://schemas.microsoft.com/office/drawing/2014/main" id="{5E9668A3-610B-4A14-CD22-13FC9D49D40D}"/>
              </a:ext>
            </a:extLst>
          </p:cNvPr>
          <p:cNvPicPr>
            <a:picLocks noChangeAspect="1"/>
          </p:cNvPicPr>
          <p:nvPr/>
        </p:nvPicPr>
        <p:blipFill>
          <a:blip r:embed="rId6">
            <a:extLst>
              <a:ext uri="{28A0092B-C50C-407E-A947-70E740481C1C}">
                <a14:useLocalDpi xmlns:a14="http://schemas.microsoft.com/office/drawing/2010/main" val="0"/>
              </a:ext>
            </a:extLst>
          </a:blip>
          <a:srcRect l="10222" t="12330" r="12000" b="12114"/>
          <a:stretch/>
        </p:blipFill>
        <p:spPr>
          <a:xfrm>
            <a:off x="7010400" y="1486229"/>
            <a:ext cx="2667000" cy="2590800"/>
          </a:xfrm>
          <a:prstGeom prst="rect">
            <a:avLst/>
          </a:prstGeom>
        </p:spPr>
      </p:pic>
      <p:pic>
        <p:nvPicPr>
          <p:cNvPr id="8" name="Am-thanh-ta-da-cua-dan-nhac-www_tiengdong_com">
            <a:hlinkClick r:id="" action="ppaction://media"/>
            <a:extLst>
              <a:ext uri="{FF2B5EF4-FFF2-40B4-BE49-F238E27FC236}">
                <a16:creationId xmlns:a16="http://schemas.microsoft.com/office/drawing/2014/main" id="{D8291C91-26E8-F1F8-18DE-EEAB2F989AAE}"/>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2798050" y="274320"/>
            <a:ext cx="406400" cy="406400"/>
          </a:xfrm>
          <a:prstGeom prst="rect">
            <a:avLst/>
          </a:prstGeom>
        </p:spPr>
      </p:pic>
    </p:spTree>
    <p:extLst>
      <p:ext uri="{BB962C8B-B14F-4D97-AF65-F5344CB8AC3E}">
        <p14:creationId xmlns:p14="http://schemas.microsoft.com/office/powerpoint/2010/main" val="122825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32" presetClass="emph" presetSubtype="0" fill="hold" nodeType="afterEffect">
                                  <p:stCondLst>
                                    <p:cond delay="0"/>
                                  </p:stCondLst>
                                  <p:childTnLst>
                                    <p:animRot by="120000">
                                      <p:cBhvr>
                                        <p:cTn id="12" dur="100" fill="hold">
                                          <p:stCondLst>
                                            <p:cond delay="0"/>
                                          </p:stCondLst>
                                        </p:cTn>
                                        <p:tgtEl>
                                          <p:spTgt spid="2"/>
                                        </p:tgtEl>
                                        <p:attrNameLst>
                                          <p:attrName>r</p:attrName>
                                        </p:attrNameLst>
                                      </p:cBhvr>
                                    </p:animRot>
                                    <p:animRot by="-240000">
                                      <p:cBhvr>
                                        <p:cTn id="13" dur="200" fill="hold">
                                          <p:stCondLst>
                                            <p:cond delay="200"/>
                                          </p:stCondLst>
                                        </p:cTn>
                                        <p:tgtEl>
                                          <p:spTgt spid="2"/>
                                        </p:tgtEl>
                                        <p:attrNameLst>
                                          <p:attrName>r</p:attrName>
                                        </p:attrNameLst>
                                      </p:cBhvr>
                                    </p:animRot>
                                    <p:animRot by="240000">
                                      <p:cBhvr>
                                        <p:cTn id="14" dur="200" fill="hold">
                                          <p:stCondLst>
                                            <p:cond delay="400"/>
                                          </p:stCondLst>
                                        </p:cTn>
                                        <p:tgtEl>
                                          <p:spTgt spid="2"/>
                                        </p:tgtEl>
                                        <p:attrNameLst>
                                          <p:attrName>r</p:attrName>
                                        </p:attrNameLst>
                                      </p:cBhvr>
                                    </p:animRot>
                                    <p:animRot by="-240000">
                                      <p:cBhvr>
                                        <p:cTn id="15" dur="200" fill="hold">
                                          <p:stCondLst>
                                            <p:cond delay="600"/>
                                          </p:stCondLst>
                                        </p:cTn>
                                        <p:tgtEl>
                                          <p:spTgt spid="2"/>
                                        </p:tgtEl>
                                        <p:attrNameLst>
                                          <p:attrName>r</p:attrName>
                                        </p:attrNameLst>
                                      </p:cBhvr>
                                    </p:animRot>
                                    <p:animRot by="120000">
                                      <p:cBhvr>
                                        <p:cTn id="16" dur="200" fill="hold">
                                          <p:stCondLst>
                                            <p:cond delay="800"/>
                                          </p:stCondLst>
                                        </p:cTn>
                                        <p:tgtEl>
                                          <p:spTgt spid="2"/>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14" presetClass="entr" presetSubtype="1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randombar(horizontal)">
                                      <p:cBhvr>
                                        <p:cTn id="21" dur="500"/>
                                        <p:tgtEl>
                                          <p:spTgt spid="3"/>
                                        </p:tgtEl>
                                      </p:cBhvr>
                                    </p:animEffect>
                                  </p:childTnLst>
                                </p:cTn>
                              </p:par>
                              <p:par>
                                <p:cTn id="22" presetID="53" presetClass="entr" presetSubtype="16"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p:cTn id="24" dur="500" fill="hold"/>
                                        <p:tgtEl>
                                          <p:spTgt spid="4"/>
                                        </p:tgtEl>
                                        <p:attrNameLst>
                                          <p:attrName>ppt_w</p:attrName>
                                        </p:attrNameLst>
                                      </p:cBhvr>
                                      <p:tavLst>
                                        <p:tav tm="0">
                                          <p:val>
                                            <p:fltVal val="0"/>
                                          </p:val>
                                        </p:tav>
                                        <p:tav tm="100000">
                                          <p:val>
                                            <p:strVal val="#ppt_w"/>
                                          </p:val>
                                        </p:tav>
                                      </p:tavLst>
                                    </p:anim>
                                    <p:anim calcmode="lin" valueType="num">
                                      <p:cBhvr>
                                        <p:cTn id="25" dur="500" fill="hold"/>
                                        <p:tgtEl>
                                          <p:spTgt spid="4"/>
                                        </p:tgtEl>
                                        <p:attrNameLst>
                                          <p:attrName>ppt_h</p:attrName>
                                        </p:attrNameLst>
                                      </p:cBhvr>
                                      <p:tavLst>
                                        <p:tav tm="0">
                                          <p:val>
                                            <p:fltVal val="0"/>
                                          </p:val>
                                        </p:tav>
                                        <p:tav tm="100000">
                                          <p:val>
                                            <p:strVal val="#ppt_h"/>
                                          </p:val>
                                        </p:tav>
                                      </p:tavLst>
                                    </p:anim>
                                    <p:animEffect transition="in" filter="fade">
                                      <p:cBhvr>
                                        <p:cTn id="26" dur="500"/>
                                        <p:tgtEl>
                                          <p:spTgt spid="4"/>
                                        </p:tgtEl>
                                      </p:cBhvr>
                                    </p:animEffect>
                                  </p:childTnLst>
                                </p:cTn>
                              </p:par>
                            </p:childTnLst>
                          </p:cTn>
                        </p:par>
                        <p:par>
                          <p:cTn id="27" fill="hold">
                            <p:stCondLst>
                              <p:cond delay="500"/>
                            </p:stCondLst>
                            <p:childTnLst>
                              <p:par>
                                <p:cTn id="28" presetID="32" presetClass="emph" presetSubtype="0" fill="hold" nodeType="afterEffect">
                                  <p:stCondLst>
                                    <p:cond delay="0"/>
                                  </p:stCondLst>
                                  <p:childTnLst>
                                    <p:animRot by="120000">
                                      <p:cBhvr>
                                        <p:cTn id="29" dur="210" fill="hold">
                                          <p:stCondLst>
                                            <p:cond delay="0"/>
                                          </p:stCondLst>
                                        </p:cTn>
                                        <p:tgtEl>
                                          <p:spTgt spid="4"/>
                                        </p:tgtEl>
                                        <p:attrNameLst>
                                          <p:attrName>r</p:attrName>
                                        </p:attrNameLst>
                                      </p:cBhvr>
                                    </p:animRot>
                                    <p:animRot by="-240000">
                                      <p:cBhvr>
                                        <p:cTn id="30" dur="420" fill="hold">
                                          <p:stCondLst>
                                            <p:cond delay="420"/>
                                          </p:stCondLst>
                                        </p:cTn>
                                        <p:tgtEl>
                                          <p:spTgt spid="4"/>
                                        </p:tgtEl>
                                        <p:attrNameLst>
                                          <p:attrName>r</p:attrName>
                                        </p:attrNameLst>
                                      </p:cBhvr>
                                    </p:animRot>
                                    <p:animRot by="240000">
                                      <p:cBhvr>
                                        <p:cTn id="31" dur="420" fill="hold">
                                          <p:stCondLst>
                                            <p:cond delay="840"/>
                                          </p:stCondLst>
                                        </p:cTn>
                                        <p:tgtEl>
                                          <p:spTgt spid="4"/>
                                        </p:tgtEl>
                                        <p:attrNameLst>
                                          <p:attrName>r</p:attrName>
                                        </p:attrNameLst>
                                      </p:cBhvr>
                                    </p:animRot>
                                    <p:animRot by="-240000">
                                      <p:cBhvr>
                                        <p:cTn id="32" dur="420" fill="hold">
                                          <p:stCondLst>
                                            <p:cond delay="1260"/>
                                          </p:stCondLst>
                                        </p:cTn>
                                        <p:tgtEl>
                                          <p:spTgt spid="4"/>
                                        </p:tgtEl>
                                        <p:attrNameLst>
                                          <p:attrName>r</p:attrName>
                                        </p:attrNameLst>
                                      </p:cBhvr>
                                    </p:animRot>
                                    <p:animRot by="120000">
                                      <p:cBhvr>
                                        <p:cTn id="33" dur="420" fill="hold">
                                          <p:stCondLst>
                                            <p:cond delay="1680"/>
                                          </p:stCondLst>
                                        </p:cTn>
                                        <p:tgtEl>
                                          <p:spTgt spid="4"/>
                                        </p:tgtEl>
                                        <p:attrNameLst>
                                          <p:attrName>r</p:attrName>
                                        </p:attrNameLst>
                                      </p:cBhvr>
                                    </p:animRot>
                                  </p:childTnLst>
                                </p:cTn>
                              </p:par>
                            </p:childTnLst>
                          </p:cTn>
                        </p:par>
                      </p:childTnLst>
                    </p:cTn>
                  </p:par>
                  <p:par>
                    <p:cTn id="34" fill="hold">
                      <p:stCondLst>
                        <p:cond delay="indefinite"/>
                      </p:stCondLst>
                      <p:childTnLst>
                        <p:par>
                          <p:cTn id="35" fill="hold">
                            <p:stCondLst>
                              <p:cond delay="0"/>
                            </p:stCondLst>
                            <p:childTnLst>
                              <p:par>
                                <p:cTn id="36" presetID="2" presetClass="exit" presetSubtype="4" fill="hold" nodeType="clickEffect">
                                  <p:stCondLst>
                                    <p:cond delay="0"/>
                                  </p:stCondLst>
                                  <p:childTnLst>
                                    <p:anim calcmode="lin" valueType="num">
                                      <p:cBhvr additive="base">
                                        <p:cTn id="37" dur="500"/>
                                        <p:tgtEl>
                                          <p:spTgt spid="4"/>
                                        </p:tgtEl>
                                        <p:attrNameLst>
                                          <p:attrName>ppt_x</p:attrName>
                                        </p:attrNameLst>
                                      </p:cBhvr>
                                      <p:tavLst>
                                        <p:tav tm="0">
                                          <p:val>
                                            <p:strVal val="ppt_x"/>
                                          </p:val>
                                        </p:tav>
                                        <p:tav tm="100000">
                                          <p:val>
                                            <p:strVal val="ppt_x"/>
                                          </p:val>
                                        </p:tav>
                                      </p:tavLst>
                                    </p:anim>
                                    <p:anim calcmode="lin" valueType="num">
                                      <p:cBhvr additive="base">
                                        <p:cTn id="38" dur="500"/>
                                        <p:tgtEl>
                                          <p:spTgt spid="4"/>
                                        </p:tgtEl>
                                        <p:attrNameLst>
                                          <p:attrName>ppt_y</p:attrName>
                                        </p:attrNameLst>
                                      </p:cBhvr>
                                      <p:tavLst>
                                        <p:tav tm="0">
                                          <p:val>
                                            <p:strVal val="ppt_y"/>
                                          </p:val>
                                        </p:tav>
                                        <p:tav tm="100000">
                                          <p:val>
                                            <p:strVal val="1+ppt_h/2"/>
                                          </p:val>
                                        </p:tav>
                                      </p:tavLst>
                                    </p:anim>
                                    <p:set>
                                      <p:cBhvr>
                                        <p:cTn id="39" dur="1" fill="hold">
                                          <p:stCondLst>
                                            <p:cond delay="499"/>
                                          </p:stCondLst>
                                        </p:cTn>
                                        <p:tgtEl>
                                          <p:spTgt spid="4"/>
                                        </p:tgtEl>
                                        <p:attrNameLst>
                                          <p:attrName>style.visibility</p:attrName>
                                        </p:attrNameLst>
                                      </p:cBhvr>
                                      <p:to>
                                        <p:strVal val="hidden"/>
                                      </p:to>
                                    </p:set>
                                  </p:childTnLst>
                                </p:cTn>
                              </p:par>
                              <p:par>
                                <p:cTn id="40" presetID="1" presetClass="mediacall" presetSubtype="0" fill="hold" nodeType="withEffect">
                                  <p:stCondLst>
                                    <p:cond delay="0"/>
                                  </p:stCondLst>
                                  <p:childTnLst>
                                    <p:cmd type="call" cmd="playFrom(0.0)">
                                      <p:cBhvr>
                                        <p:cTn id="41" dur="1646" fill="hold"/>
                                        <p:tgtEl>
                                          <p:spTgt spid="5"/>
                                        </p:tgtEl>
                                      </p:cBhvr>
                                    </p:cmd>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nodeType="click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randombar(horizontal)">
                                      <p:cBhvr>
                                        <p:cTn id="46" dur="500"/>
                                        <p:tgtEl>
                                          <p:spTgt spid="6"/>
                                        </p:tgtEl>
                                      </p:cBhvr>
                                    </p:animEffect>
                                  </p:childTnLst>
                                </p:cTn>
                              </p:par>
                              <p:par>
                                <p:cTn id="47" presetID="53" presetClass="entr" presetSubtype="16" fill="hold" nodeType="with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p:cTn id="49" dur="500" fill="hold"/>
                                        <p:tgtEl>
                                          <p:spTgt spid="7"/>
                                        </p:tgtEl>
                                        <p:attrNameLst>
                                          <p:attrName>ppt_w</p:attrName>
                                        </p:attrNameLst>
                                      </p:cBhvr>
                                      <p:tavLst>
                                        <p:tav tm="0">
                                          <p:val>
                                            <p:fltVal val="0"/>
                                          </p:val>
                                        </p:tav>
                                        <p:tav tm="100000">
                                          <p:val>
                                            <p:strVal val="#ppt_w"/>
                                          </p:val>
                                        </p:tav>
                                      </p:tavLst>
                                    </p:anim>
                                    <p:anim calcmode="lin" valueType="num">
                                      <p:cBhvr>
                                        <p:cTn id="50" dur="500" fill="hold"/>
                                        <p:tgtEl>
                                          <p:spTgt spid="7"/>
                                        </p:tgtEl>
                                        <p:attrNameLst>
                                          <p:attrName>ppt_h</p:attrName>
                                        </p:attrNameLst>
                                      </p:cBhvr>
                                      <p:tavLst>
                                        <p:tav tm="0">
                                          <p:val>
                                            <p:fltVal val="0"/>
                                          </p:val>
                                        </p:tav>
                                        <p:tav tm="100000">
                                          <p:val>
                                            <p:strVal val="#ppt_h"/>
                                          </p:val>
                                        </p:tav>
                                      </p:tavLst>
                                    </p:anim>
                                    <p:animEffect transition="in" filter="fade">
                                      <p:cBhvr>
                                        <p:cTn id="51" dur="500"/>
                                        <p:tgtEl>
                                          <p:spTgt spid="7"/>
                                        </p:tgtEl>
                                      </p:cBhvr>
                                    </p:animEffect>
                                  </p:childTnLst>
                                </p:cTn>
                              </p:par>
                            </p:childTnLst>
                          </p:cTn>
                        </p:par>
                        <p:par>
                          <p:cTn id="52" fill="hold">
                            <p:stCondLst>
                              <p:cond delay="500"/>
                            </p:stCondLst>
                            <p:childTnLst>
                              <p:par>
                                <p:cTn id="53" presetID="32" presetClass="emph" presetSubtype="0" fill="hold" nodeType="afterEffect">
                                  <p:stCondLst>
                                    <p:cond delay="0"/>
                                  </p:stCondLst>
                                  <p:childTnLst>
                                    <p:animRot by="120000">
                                      <p:cBhvr>
                                        <p:cTn id="54" dur="210" fill="hold">
                                          <p:stCondLst>
                                            <p:cond delay="0"/>
                                          </p:stCondLst>
                                        </p:cTn>
                                        <p:tgtEl>
                                          <p:spTgt spid="7"/>
                                        </p:tgtEl>
                                        <p:attrNameLst>
                                          <p:attrName>r</p:attrName>
                                        </p:attrNameLst>
                                      </p:cBhvr>
                                    </p:animRot>
                                    <p:animRot by="-240000">
                                      <p:cBhvr>
                                        <p:cTn id="55" dur="420" fill="hold">
                                          <p:stCondLst>
                                            <p:cond delay="420"/>
                                          </p:stCondLst>
                                        </p:cTn>
                                        <p:tgtEl>
                                          <p:spTgt spid="7"/>
                                        </p:tgtEl>
                                        <p:attrNameLst>
                                          <p:attrName>r</p:attrName>
                                        </p:attrNameLst>
                                      </p:cBhvr>
                                    </p:animRot>
                                    <p:animRot by="240000">
                                      <p:cBhvr>
                                        <p:cTn id="56" dur="420" fill="hold">
                                          <p:stCondLst>
                                            <p:cond delay="840"/>
                                          </p:stCondLst>
                                        </p:cTn>
                                        <p:tgtEl>
                                          <p:spTgt spid="7"/>
                                        </p:tgtEl>
                                        <p:attrNameLst>
                                          <p:attrName>r</p:attrName>
                                        </p:attrNameLst>
                                      </p:cBhvr>
                                    </p:animRot>
                                    <p:animRot by="-240000">
                                      <p:cBhvr>
                                        <p:cTn id="57" dur="420" fill="hold">
                                          <p:stCondLst>
                                            <p:cond delay="1260"/>
                                          </p:stCondLst>
                                        </p:cTn>
                                        <p:tgtEl>
                                          <p:spTgt spid="7"/>
                                        </p:tgtEl>
                                        <p:attrNameLst>
                                          <p:attrName>r</p:attrName>
                                        </p:attrNameLst>
                                      </p:cBhvr>
                                    </p:animRot>
                                    <p:animRot by="120000">
                                      <p:cBhvr>
                                        <p:cTn id="58" dur="420" fill="hold">
                                          <p:stCondLst>
                                            <p:cond delay="1680"/>
                                          </p:stCondLst>
                                        </p:cTn>
                                        <p:tgtEl>
                                          <p:spTgt spid="7"/>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2" presetClass="exit" presetSubtype="4" fill="hold" nodeType="clickEffect">
                                  <p:stCondLst>
                                    <p:cond delay="0"/>
                                  </p:stCondLst>
                                  <p:childTnLst>
                                    <p:anim calcmode="lin" valueType="num">
                                      <p:cBhvr additive="base">
                                        <p:cTn id="62" dur="500"/>
                                        <p:tgtEl>
                                          <p:spTgt spid="7"/>
                                        </p:tgtEl>
                                        <p:attrNameLst>
                                          <p:attrName>ppt_x</p:attrName>
                                        </p:attrNameLst>
                                      </p:cBhvr>
                                      <p:tavLst>
                                        <p:tav tm="0">
                                          <p:val>
                                            <p:strVal val="ppt_x"/>
                                          </p:val>
                                        </p:tav>
                                        <p:tav tm="100000">
                                          <p:val>
                                            <p:strVal val="ppt_x"/>
                                          </p:val>
                                        </p:tav>
                                      </p:tavLst>
                                    </p:anim>
                                    <p:anim calcmode="lin" valueType="num">
                                      <p:cBhvr additive="base">
                                        <p:cTn id="63" dur="500"/>
                                        <p:tgtEl>
                                          <p:spTgt spid="7"/>
                                        </p:tgtEl>
                                        <p:attrNameLst>
                                          <p:attrName>ppt_y</p:attrName>
                                        </p:attrNameLst>
                                      </p:cBhvr>
                                      <p:tavLst>
                                        <p:tav tm="0">
                                          <p:val>
                                            <p:strVal val="ppt_y"/>
                                          </p:val>
                                        </p:tav>
                                        <p:tav tm="100000">
                                          <p:val>
                                            <p:strVal val="1+ppt_h/2"/>
                                          </p:val>
                                        </p:tav>
                                      </p:tavLst>
                                    </p:anim>
                                    <p:set>
                                      <p:cBhvr>
                                        <p:cTn id="64" dur="1" fill="hold">
                                          <p:stCondLst>
                                            <p:cond delay="499"/>
                                          </p:stCondLst>
                                        </p:cTn>
                                        <p:tgtEl>
                                          <p:spTgt spid="7"/>
                                        </p:tgtEl>
                                        <p:attrNameLst>
                                          <p:attrName>style.visibility</p:attrName>
                                        </p:attrNameLst>
                                      </p:cBhvr>
                                      <p:to>
                                        <p:strVal val="hidden"/>
                                      </p:to>
                                    </p:set>
                                  </p:childTnLst>
                                </p:cTn>
                              </p:par>
                              <p:par>
                                <p:cTn id="65" presetID="1" presetClass="mediacall" presetSubtype="0" fill="hold" nodeType="withEffect">
                                  <p:stCondLst>
                                    <p:cond delay="0"/>
                                  </p:stCondLst>
                                  <p:childTnLst>
                                    <p:cmd type="call" cmd="playFrom(0.0)">
                                      <p:cBhvr>
                                        <p:cTn id="66" dur="164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67" fill="hold" display="0">
                  <p:stCondLst>
                    <p:cond delay="indefinite"/>
                  </p:stCondLst>
                  <p:endCondLst>
                    <p:cond evt="onStopAudio" delay="0">
                      <p:tgtEl>
                        <p:sldTgt/>
                      </p:tgtEl>
                    </p:cond>
                  </p:endCondLst>
                </p:cTn>
                <p:tgtEl>
                  <p:spTgt spid="5"/>
                </p:tgtEl>
              </p:cMediaNode>
            </p:audio>
            <p:audio>
              <p:cMediaNode vol="80000">
                <p:cTn id="68" fill="hold" display="0">
                  <p:stCondLst>
                    <p:cond delay="indefinite"/>
                  </p:stCondLst>
                  <p:endCondLst>
                    <p:cond evt="onStopAudio" delay="0">
                      <p:tgtEl>
                        <p:sldTgt/>
                      </p:tgtEl>
                    </p:cond>
                  </p:endCondLst>
                </p:cTn>
                <p:tgtEl>
                  <p:spTgt spid="8"/>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E20E74-B419-6C03-5836-A9B3ED24A3AA}"/>
              </a:ext>
            </a:extLst>
          </p:cNvPr>
          <p:cNvPicPr>
            <a:picLocks noChangeAspect="1"/>
          </p:cNvPicPr>
          <p:nvPr/>
        </p:nvPicPr>
        <p:blipFill>
          <a:blip r:embed="rId4"/>
          <a:stretch>
            <a:fillRect/>
          </a:stretch>
        </p:blipFill>
        <p:spPr>
          <a:xfrm>
            <a:off x="685800" y="135992"/>
            <a:ext cx="11126164" cy="1109568"/>
          </a:xfrm>
          <a:prstGeom prst="rect">
            <a:avLst/>
          </a:prstGeom>
        </p:spPr>
      </p:pic>
      <p:pic>
        <p:nvPicPr>
          <p:cNvPr id="3" name="Picture 2">
            <a:extLst>
              <a:ext uri="{FF2B5EF4-FFF2-40B4-BE49-F238E27FC236}">
                <a16:creationId xmlns:a16="http://schemas.microsoft.com/office/drawing/2014/main" id="{7AF2B467-2DB3-5235-FF67-6C3E85A093F1}"/>
              </a:ext>
            </a:extLst>
          </p:cNvPr>
          <p:cNvPicPr>
            <a:picLocks noChangeAspect="1"/>
          </p:cNvPicPr>
          <p:nvPr/>
        </p:nvPicPr>
        <p:blipFill>
          <a:blip r:embed="rId5"/>
          <a:stretch>
            <a:fillRect/>
          </a:stretch>
        </p:blipFill>
        <p:spPr>
          <a:xfrm>
            <a:off x="990600" y="1245560"/>
            <a:ext cx="3810000" cy="5422189"/>
          </a:xfrm>
          <a:prstGeom prst="rect">
            <a:avLst/>
          </a:prstGeom>
        </p:spPr>
      </p:pic>
      <p:pic>
        <p:nvPicPr>
          <p:cNvPr id="4" name="Picture 3" descr="A yellow cartoon face with white hand on it&#10;&#10;AI-generated content may be incorrect.">
            <a:extLst>
              <a:ext uri="{FF2B5EF4-FFF2-40B4-BE49-F238E27FC236}">
                <a16:creationId xmlns:a16="http://schemas.microsoft.com/office/drawing/2014/main" id="{6384F936-3950-2055-EDA6-8140663B0580}"/>
              </a:ext>
            </a:extLst>
          </p:cNvPr>
          <p:cNvPicPr>
            <a:picLocks noChangeAspect="1"/>
          </p:cNvPicPr>
          <p:nvPr/>
        </p:nvPicPr>
        <p:blipFill>
          <a:blip r:embed="rId6" cstate="hqprint">
            <a:extLst>
              <a:ext uri="{28A0092B-C50C-407E-A947-70E740481C1C}">
                <a14:useLocalDpi xmlns:a14="http://schemas.microsoft.com/office/drawing/2010/main" val="0"/>
              </a:ext>
            </a:extLst>
          </a:blip>
          <a:srcRect l="10222" t="12330" r="12000" b="12114"/>
          <a:stretch/>
        </p:blipFill>
        <p:spPr>
          <a:xfrm>
            <a:off x="1524000" y="2787529"/>
            <a:ext cx="2438400" cy="2368731"/>
          </a:xfrm>
          <a:prstGeom prst="rect">
            <a:avLst/>
          </a:prstGeom>
        </p:spPr>
      </p:pic>
      <p:pic>
        <p:nvPicPr>
          <p:cNvPr id="5" name="Am-thanh-ta-da-cua-dan-nhac-www_tiengdong_com">
            <a:hlinkClick r:id="" action="ppaction://media"/>
            <a:extLst>
              <a:ext uri="{FF2B5EF4-FFF2-40B4-BE49-F238E27FC236}">
                <a16:creationId xmlns:a16="http://schemas.microsoft.com/office/drawing/2014/main" id="{34301655-80D8-55FB-9728-63ED3D441808}"/>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1055610" y="-505997"/>
            <a:ext cx="406400" cy="406400"/>
          </a:xfrm>
          <a:prstGeom prst="rect">
            <a:avLst/>
          </a:prstGeom>
        </p:spPr>
      </p:pic>
      <p:pic>
        <p:nvPicPr>
          <p:cNvPr id="6" name="Picture 5">
            <a:extLst>
              <a:ext uri="{FF2B5EF4-FFF2-40B4-BE49-F238E27FC236}">
                <a16:creationId xmlns:a16="http://schemas.microsoft.com/office/drawing/2014/main" id="{D6B258A8-78EB-AC34-B812-467CCBF2A162}"/>
              </a:ext>
            </a:extLst>
          </p:cNvPr>
          <p:cNvPicPr>
            <a:picLocks noChangeAspect="1"/>
          </p:cNvPicPr>
          <p:nvPr/>
        </p:nvPicPr>
        <p:blipFill>
          <a:blip r:embed="rId8"/>
          <a:stretch>
            <a:fillRect/>
          </a:stretch>
        </p:blipFill>
        <p:spPr>
          <a:xfrm>
            <a:off x="6629400" y="1242641"/>
            <a:ext cx="3810000" cy="5425108"/>
          </a:xfrm>
          <a:prstGeom prst="rect">
            <a:avLst/>
          </a:prstGeom>
        </p:spPr>
      </p:pic>
      <p:pic>
        <p:nvPicPr>
          <p:cNvPr id="7" name="Picture 6" descr="A yellow cartoon face with white hand on it&#10;&#10;AI-generated content may be incorrect.">
            <a:extLst>
              <a:ext uri="{FF2B5EF4-FFF2-40B4-BE49-F238E27FC236}">
                <a16:creationId xmlns:a16="http://schemas.microsoft.com/office/drawing/2014/main" id="{27ED2F79-47F8-5D60-BA89-18A98F6EAF42}"/>
              </a:ext>
            </a:extLst>
          </p:cNvPr>
          <p:cNvPicPr>
            <a:picLocks noChangeAspect="1"/>
          </p:cNvPicPr>
          <p:nvPr/>
        </p:nvPicPr>
        <p:blipFill>
          <a:blip r:embed="rId6">
            <a:extLst>
              <a:ext uri="{28A0092B-C50C-407E-A947-70E740481C1C}">
                <a14:useLocalDpi xmlns:a14="http://schemas.microsoft.com/office/drawing/2010/main" val="0"/>
              </a:ext>
            </a:extLst>
          </a:blip>
          <a:srcRect l="10222" t="12330" r="12000" b="12114"/>
          <a:stretch/>
        </p:blipFill>
        <p:spPr>
          <a:xfrm>
            <a:off x="7315200" y="1486229"/>
            <a:ext cx="2667000" cy="2590800"/>
          </a:xfrm>
          <a:prstGeom prst="rect">
            <a:avLst/>
          </a:prstGeom>
        </p:spPr>
      </p:pic>
      <p:pic>
        <p:nvPicPr>
          <p:cNvPr id="8" name="Am-thanh-ta-da-cua-dan-nhac-www_tiengdong_com">
            <a:hlinkClick r:id="" action="ppaction://media"/>
            <a:extLst>
              <a:ext uri="{FF2B5EF4-FFF2-40B4-BE49-F238E27FC236}">
                <a16:creationId xmlns:a16="http://schemas.microsoft.com/office/drawing/2014/main" id="{0C00843B-8A7A-495F-793A-DBD8B330CAC2}"/>
              </a:ext>
            </a:extLst>
          </p:cNvPr>
          <p:cNvPicPr>
            <a:picLocks noChangeAspect="1"/>
          </p:cNvPicPr>
          <p:nvPr>
            <a:audioFile r:link="rId1"/>
            <p:extLst>
              <p:ext uri="{DAA4B4D4-6D71-4841-9C94-3DE7FCFB9230}">
                <p14:media xmlns:p14="http://schemas.microsoft.com/office/powerpoint/2010/main" r:embed="rId2">
                  <p14:trim end="1697.625"/>
                </p14:media>
              </p:ext>
            </p:extLst>
          </p:nvPr>
        </p:nvPicPr>
        <p:blipFill>
          <a:blip r:embed="rId7"/>
          <a:stretch>
            <a:fillRect/>
          </a:stretch>
        </p:blipFill>
        <p:spPr>
          <a:xfrm>
            <a:off x="12798050" y="274320"/>
            <a:ext cx="406400" cy="406400"/>
          </a:xfrm>
          <a:prstGeom prst="rect">
            <a:avLst/>
          </a:prstGeom>
        </p:spPr>
      </p:pic>
    </p:spTree>
    <p:extLst>
      <p:ext uri="{BB962C8B-B14F-4D97-AF65-F5344CB8AC3E}">
        <p14:creationId xmlns:p14="http://schemas.microsoft.com/office/powerpoint/2010/main" val="393962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32" presetClass="emph" presetSubtype="0" fill="hold" nodeType="afterEffect">
                                  <p:stCondLst>
                                    <p:cond delay="0"/>
                                  </p:stCondLst>
                                  <p:childTnLst>
                                    <p:animRot by="120000">
                                      <p:cBhvr>
                                        <p:cTn id="12" dur="100" fill="hold">
                                          <p:stCondLst>
                                            <p:cond delay="0"/>
                                          </p:stCondLst>
                                        </p:cTn>
                                        <p:tgtEl>
                                          <p:spTgt spid="2"/>
                                        </p:tgtEl>
                                        <p:attrNameLst>
                                          <p:attrName>r</p:attrName>
                                        </p:attrNameLst>
                                      </p:cBhvr>
                                    </p:animRot>
                                    <p:animRot by="-240000">
                                      <p:cBhvr>
                                        <p:cTn id="13" dur="200" fill="hold">
                                          <p:stCondLst>
                                            <p:cond delay="200"/>
                                          </p:stCondLst>
                                        </p:cTn>
                                        <p:tgtEl>
                                          <p:spTgt spid="2"/>
                                        </p:tgtEl>
                                        <p:attrNameLst>
                                          <p:attrName>r</p:attrName>
                                        </p:attrNameLst>
                                      </p:cBhvr>
                                    </p:animRot>
                                    <p:animRot by="240000">
                                      <p:cBhvr>
                                        <p:cTn id="14" dur="200" fill="hold">
                                          <p:stCondLst>
                                            <p:cond delay="400"/>
                                          </p:stCondLst>
                                        </p:cTn>
                                        <p:tgtEl>
                                          <p:spTgt spid="2"/>
                                        </p:tgtEl>
                                        <p:attrNameLst>
                                          <p:attrName>r</p:attrName>
                                        </p:attrNameLst>
                                      </p:cBhvr>
                                    </p:animRot>
                                    <p:animRot by="-240000">
                                      <p:cBhvr>
                                        <p:cTn id="15" dur="200" fill="hold">
                                          <p:stCondLst>
                                            <p:cond delay="600"/>
                                          </p:stCondLst>
                                        </p:cTn>
                                        <p:tgtEl>
                                          <p:spTgt spid="2"/>
                                        </p:tgtEl>
                                        <p:attrNameLst>
                                          <p:attrName>r</p:attrName>
                                        </p:attrNameLst>
                                      </p:cBhvr>
                                    </p:animRot>
                                    <p:animRot by="120000">
                                      <p:cBhvr>
                                        <p:cTn id="16" dur="200" fill="hold">
                                          <p:stCondLst>
                                            <p:cond delay="800"/>
                                          </p:stCondLst>
                                        </p:cTn>
                                        <p:tgtEl>
                                          <p:spTgt spid="2"/>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14" presetClass="entr" presetSubtype="1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randombar(horizontal)">
                                      <p:cBhvr>
                                        <p:cTn id="21" dur="500"/>
                                        <p:tgtEl>
                                          <p:spTgt spid="3"/>
                                        </p:tgtEl>
                                      </p:cBhvr>
                                    </p:animEffect>
                                  </p:childTnLst>
                                </p:cTn>
                              </p:par>
                              <p:par>
                                <p:cTn id="22" presetID="53" presetClass="entr" presetSubtype="16"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p:cTn id="24" dur="500" fill="hold"/>
                                        <p:tgtEl>
                                          <p:spTgt spid="4"/>
                                        </p:tgtEl>
                                        <p:attrNameLst>
                                          <p:attrName>ppt_w</p:attrName>
                                        </p:attrNameLst>
                                      </p:cBhvr>
                                      <p:tavLst>
                                        <p:tav tm="0">
                                          <p:val>
                                            <p:fltVal val="0"/>
                                          </p:val>
                                        </p:tav>
                                        <p:tav tm="100000">
                                          <p:val>
                                            <p:strVal val="#ppt_w"/>
                                          </p:val>
                                        </p:tav>
                                      </p:tavLst>
                                    </p:anim>
                                    <p:anim calcmode="lin" valueType="num">
                                      <p:cBhvr>
                                        <p:cTn id="25" dur="500" fill="hold"/>
                                        <p:tgtEl>
                                          <p:spTgt spid="4"/>
                                        </p:tgtEl>
                                        <p:attrNameLst>
                                          <p:attrName>ppt_h</p:attrName>
                                        </p:attrNameLst>
                                      </p:cBhvr>
                                      <p:tavLst>
                                        <p:tav tm="0">
                                          <p:val>
                                            <p:fltVal val="0"/>
                                          </p:val>
                                        </p:tav>
                                        <p:tav tm="100000">
                                          <p:val>
                                            <p:strVal val="#ppt_h"/>
                                          </p:val>
                                        </p:tav>
                                      </p:tavLst>
                                    </p:anim>
                                    <p:animEffect transition="in" filter="fade">
                                      <p:cBhvr>
                                        <p:cTn id="26" dur="500"/>
                                        <p:tgtEl>
                                          <p:spTgt spid="4"/>
                                        </p:tgtEl>
                                      </p:cBhvr>
                                    </p:animEffect>
                                  </p:childTnLst>
                                </p:cTn>
                              </p:par>
                            </p:childTnLst>
                          </p:cTn>
                        </p:par>
                        <p:par>
                          <p:cTn id="27" fill="hold">
                            <p:stCondLst>
                              <p:cond delay="500"/>
                            </p:stCondLst>
                            <p:childTnLst>
                              <p:par>
                                <p:cTn id="28" presetID="32" presetClass="emph" presetSubtype="0" fill="hold" nodeType="afterEffect">
                                  <p:stCondLst>
                                    <p:cond delay="0"/>
                                  </p:stCondLst>
                                  <p:childTnLst>
                                    <p:animRot by="120000">
                                      <p:cBhvr>
                                        <p:cTn id="29" dur="210" fill="hold">
                                          <p:stCondLst>
                                            <p:cond delay="0"/>
                                          </p:stCondLst>
                                        </p:cTn>
                                        <p:tgtEl>
                                          <p:spTgt spid="4"/>
                                        </p:tgtEl>
                                        <p:attrNameLst>
                                          <p:attrName>r</p:attrName>
                                        </p:attrNameLst>
                                      </p:cBhvr>
                                    </p:animRot>
                                    <p:animRot by="-240000">
                                      <p:cBhvr>
                                        <p:cTn id="30" dur="420" fill="hold">
                                          <p:stCondLst>
                                            <p:cond delay="420"/>
                                          </p:stCondLst>
                                        </p:cTn>
                                        <p:tgtEl>
                                          <p:spTgt spid="4"/>
                                        </p:tgtEl>
                                        <p:attrNameLst>
                                          <p:attrName>r</p:attrName>
                                        </p:attrNameLst>
                                      </p:cBhvr>
                                    </p:animRot>
                                    <p:animRot by="240000">
                                      <p:cBhvr>
                                        <p:cTn id="31" dur="420" fill="hold">
                                          <p:stCondLst>
                                            <p:cond delay="840"/>
                                          </p:stCondLst>
                                        </p:cTn>
                                        <p:tgtEl>
                                          <p:spTgt spid="4"/>
                                        </p:tgtEl>
                                        <p:attrNameLst>
                                          <p:attrName>r</p:attrName>
                                        </p:attrNameLst>
                                      </p:cBhvr>
                                    </p:animRot>
                                    <p:animRot by="-240000">
                                      <p:cBhvr>
                                        <p:cTn id="32" dur="420" fill="hold">
                                          <p:stCondLst>
                                            <p:cond delay="1260"/>
                                          </p:stCondLst>
                                        </p:cTn>
                                        <p:tgtEl>
                                          <p:spTgt spid="4"/>
                                        </p:tgtEl>
                                        <p:attrNameLst>
                                          <p:attrName>r</p:attrName>
                                        </p:attrNameLst>
                                      </p:cBhvr>
                                    </p:animRot>
                                    <p:animRot by="120000">
                                      <p:cBhvr>
                                        <p:cTn id="33" dur="420" fill="hold">
                                          <p:stCondLst>
                                            <p:cond delay="1680"/>
                                          </p:stCondLst>
                                        </p:cTn>
                                        <p:tgtEl>
                                          <p:spTgt spid="4"/>
                                        </p:tgtEl>
                                        <p:attrNameLst>
                                          <p:attrName>r</p:attrName>
                                        </p:attrNameLst>
                                      </p:cBhvr>
                                    </p:animRot>
                                  </p:childTnLst>
                                </p:cTn>
                              </p:par>
                            </p:childTnLst>
                          </p:cTn>
                        </p:par>
                      </p:childTnLst>
                    </p:cTn>
                  </p:par>
                  <p:par>
                    <p:cTn id="34" fill="hold">
                      <p:stCondLst>
                        <p:cond delay="indefinite"/>
                      </p:stCondLst>
                      <p:childTnLst>
                        <p:par>
                          <p:cTn id="35" fill="hold">
                            <p:stCondLst>
                              <p:cond delay="0"/>
                            </p:stCondLst>
                            <p:childTnLst>
                              <p:par>
                                <p:cTn id="36" presetID="2" presetClass="exit" presetSubtype="4" fill="hold" nodeType="clickEffect">
                                  <p:stCondLst>
                                    <p:cond delay="0"/>
                                  </p:stCondLst>
                                  <p:childTnLst>
                                    <p:anim calcmode="lin" valueType="num">
                                      <p:cBhvr additive="base">
                                        <p:cTn id="37" dur="500"/>
                                        <p:tgtEl>
                                          <p:spTgt spid="4"/>
                                        </p:tgtEl>
                                        <p:attrNameLst>
                                          <p:attrName>ppt_x</p:attrName>
                                        </p:attrNameLst>
                                      </p:cBhvr>
                                      <p:tavLst>
                                        <p:tav tm="0">
                                          <p:val>
                                            <p:strVal val="ppt_x"/>
                                          </p:val>
                                        </p:tav>
                                        <p:tav tm="100000">
                                          <p:val>
                                            <p:strVal val="ppt_x"/>
                                          </p:val>
                                        </p:tav>
                                      </p:tavLst>
                                    </p:anim>
                                    <p:anim calcmode="lin" valueType="num">
                                      <p:cBhvr additive="base">
                                        <p:cTn id="38" dur="500"/>
                                        <p:tgtEl>
                                          <p:spTgt spid="4"/>
                                        </p:tgtEl>
                                        <p:attrNameLst>
                                          <p:attrName>ppt_y</p:attrName>
                                        </p:attrNameLst>
                                      </p:cBhvr>
                                      <p:tavLst>
                                        <p:tav tm="0">
                                          <p:val>
                                            <p:strVal val="ppt_y"/>
                                          </p:val>
                                        </p:tav>
                                        <p:tav tm="100000">
                                          <p:val>
                                            <p:strVal val="1+ppt_h/2"/>
                                          </p:val>
                                        </p:tav>
                                      </p:tavLst>
                                    </p:anim>
                                    <p:set>
                                      <p:cBhvr>
                                        <p:cTn id="39" dur="1" fill="hold">
                                          <p:stCondLst>
                                            <p:cond delay="499"/>
                                          </p:stCondLst>
                                        </p:cTn>
                                        <p:tgtEl>
                                          <p:spTgt spid="4"/>
                                        </p:tgtEl>
                                        <p:attrNameLst>
                                          <p:attrName>style.visibility</p:attrName>
                                        </p:attrNameLst>
                                      </p:cBhvr>
                                      <p:to>
                                        <p:strVal val="hidden"/>
                                      </p:to>
                                    </p:set>
                                  </p:childTnLst>
                                </p:cTn>
                              </p:par>
                              <p:par>
                                <p:cTn id="40" presetID="1" presetClass="mediacall" presetSubtype="0" fill="hold" nodeType="withEffect">
                                  <p:stCondLst>
                                    <p:cond delay="0"/>
                                  </p:stCondLst>
                                  <p:childTnLst>
                                    <p:cmd type="call" cmd="playFrom(0.0)">
                                      <p:cBhvr>
                                        <p:cTn id="41" dur="1646" fill="hold"/>
                                        <p:tgtEl>
                                          <p:spTgt spid="5"/>
                                        </p:tgtEl>
                                      </p:cBhvr>
                                    </p:cmd>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nodeType="click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randombar(horizontal)">
                                      <p:cBhvr>
                                        <p:cTn id="46" dur="500"/>
                                        <p:tgtEl>
                                          <p:spTgt spid="6"/>
                                        </p:tgtEl>
                                      </p:cBhvr>
                                    </p:animEffect>
                                  </p:childTnLst>
                                </p:cTn>
                              </p:par>
                              <p:par>
                                <p:cTn id="47" presetID="53" presetClass="entr" presetSubtype="16" fill="hold" nodeType="with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p:cTn id="49" dur="500" fill="hold"/>
                                        <p:tgtEl>
                                          <p:spTgt spid="7"/>
                                        </p:tgtEl>
                                        <p:attrNameLst>
                                          <p:attrName>ppt_w</p:attrName>
                                        </p:attrNameLst>
                                      </p:cBhvr>
                                      <p:tavLst>
                                        <p:tav tm="0">
                                          <p:val>
                                            <p:fltVal val="0"/>
                                          </p:val>
                                        </p:tav>
                                        <p:tav tm="100000">
                                          <p:val>
                                            <p:strVal val="#ppt_w"/>
                                          </p:val>
                                        </p:tav>
                                      </p:tavLst>
                                    </p:anim>
                                    <p:anim calcmode="lin" valueType="num">
                                      <p:cBhvr>
                                        <p:cTn id="50" dur="500" fill="hold"/>
                                        <p:tgtEl>
                                          <p:spTgt spid="7"/>
                                        </p:tgtEl>
                                        <p:attrNameLst>
                                          <p:attrName>ppt_h</p:attrName>
                                        </p:attrNameLst>
                                      </p:cBhvr>
                                      <p:tavLst>
                                        <p:tav tm="0">
                                          <p:val>
                                            <p:fltVal val="0"/>
                                          </p:val>
                                        </p:tav>
                                        <p:tav tm="100000">
                                          <p:val>
                                            <p:strVal val="#ppt_h"/>
                                          </p:val>
                                        </p:tav>
                                      </p:tavLst>
                                    </p:anim>
                                    <p:animEffect transition="in" filter="fade">
                                      <p:cBhvr>
                                        <p:cTn id="51" dur="500"/>
                                        <p:tgtEl>
                                          <p:spTgt spid="7"/>
                                        </p:tgtEl>
                                      </p:cBhvr>
                                    </p:animEffect>
                                  </p:childTnLst>
                                </p:cTn>
                              </p:par>
                            </p:childTnLst>
                          </p:cTn>
                        </p:par>
                        <p:par>
                          <p:cTn id="52" fill="hold">
                            <p:stCondLst>
                              <p:cond delay="500"/>
                            </p:stCondLst>
                            <p:childTnLst>
                              <p:par>
                                <p:cTn id="53" presetID="32" presetClass="emph" presetSubtype="0" fill="hold" nodeType="afterEffect">
                                  <p:stCondLst>
                                    <p:cond delay="0"/>
                                  </p:stCondLst>
                                  <p:childTnLst>
                                    <p:animRot by="120000">
                                      <p:cBhvr>
                                        <p:cTn id="54" dur="210" fill="hold">
                                          <p:stCondLst>
                                            <p:cond delay="0"/>
                                          </p:stCondLst>
                                        </p:cTn>
                                        <p:tgtEl>
                                          <p:spTgt spid="7"/>
                                        </p:tgtEl>
                                        <p:attrNameLst>
                                          <p:attrName>r</p:attrName>
                                        </p:attrNameLst>
                                      </p:cBhvr>
                                    </p:animRot>
                                    <p:animRot by="-240000">
                                      <p:cBhvr>
                                        <p:cTn id="55" dur="420" fill="hold">
                                          <p:stCondLst>
                                            <p:cond delay="420"/>
                                          </p:stCondLst>
                                        </p:cTn>
                                        <p:tgtEl>
                                          <p:spTgt spid="7"/>
                                        </p:tgtEl>
                                        <p:attrNameLst>
                                          <p:attrName>r</p:attrName>
                                        </p:attrNameLst>
                                      </p:cBhvr>
                                    </p:animRot>
                                    <p:animRot by="240000">
                                      <p:cBhvr>
                                        <p:cTn id="56" dur="420" fill="hold">
                                          <p:stCondLst>
                                            <p:cond delay="840"/>
                                          </p:stCondLst>
                                        </p:cTn>
                                        <p:tgtEl>
                                          <p:spTgt spid="7"/>
                                        </p:tgtEl>
                                        <p:attrNameLst>
                                          <p:attrName>r</p:attrName>
                                        </p:attrNameLst>
                                      </p:cBhvr>
                                    </p:animRot>
                                    <p:animRot by="-240000">
                                      <p:cBhvr>
                                        <p:cTn id="57" dur="420" fill="hold">
                                          <p:stCondLst>
                                            <p:cond delay="1260"/>
                                          </p:stCondLst>
                                        </p:cTn>
                                        <p:tgtEl>
                                          <p:spTgt spid="7"/>
                                        </p:tgtEl>
                                        <p:attrNameLst>
                                          <p:attrName>r</p:attrName>
                                        </p:attrNameLst>
                                      </p:cBhvr>
                                    </p:animRot>
                                    <p:animRot by="120000">
                                      <p:cBhvr>
                                        <p:cTn id="58" dur="420" fill="hold">
                                          <p:stCondLst>
                                            <p:cond delay="1680"/>
                                          </p:stCondLst>
                                        </p:cTn>
                                        <p:tgtEl>
                                          <p:spTgt spid="7"/>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2" presetClass="exit" presetSubtype="4" fill="hold" nodeType="clickEffect">
                                  <p:stCondLst>
                                    <p:cond delay="0"/>
                                  </p:stCondLst>
                                  <p:childTnLst>
                                    <p:anim calcmode="lin" valueType="num">
                                      <p:cBhvr additive="base">
                                        <p:cTn id="62" dur="500"/>
                                        <p:tgtEl>
                                          <p:spTgt spid="7"/>
                                        </p:tgtEl>
                                        <p:attrNameLst>
                                          <p:attrName>ppt_x</p:attrName>
                                        </p:attrNameLst>
                                      </p:cBhvr>
                                      <p:tavLst>
                                        <p:tav tm="0">
                                          <p:val>
                                            <p:strVal val="ppt_x"/>
                                          </p:val>
                                        </p:tav>
                                        <p:tav tm="100000">
                                          <p:val>
                                            <p:strVal val="ppt_x"/>
                                          </p:val>
                                        </p:tav>
                                      </p:tavLst>
                                    </p:anim>
                                    <p:anim calcmode="lin" valueType="num">
                                      <p:cBhvr additive="base">
                                        <p:cTn id="63" dur="500"/>
                                        <p:tgtEl>
                                          <p:spTgt spid="7"/>
                                        </p:tgtEl>
                                        <p:attrNameLst>
                                          <p:attrName>ppt_y</p:attrName>
                                        </p:attrNameLst>
                                      </p:cBhvr>
                                      <p:tavLst>
                                        <p:tav tm="0">
                                          <p:val>
                                            <p:strVal val="ppt_y"/>
                                          </p:val>
                                        </p:tav>
                                        <p:tav tm="100000">
                                          <p:val>
                                            <p:strVal val="1+ppt_h/2"/>
                                          </p:val>
                                        </p:tav>
                                      </p:tavLst>
                                    </p:anim>
                                    <p:set>
                                      <p:cBhvr>
                                        <p:cTn id="64" dur="1" fill="hold">
                                          <p:stCondLst>
                                            <p:cond delay="499"/>
                                          </p:stCondLst>
                                        </p:cTn>
                                        <p:tgtEl>
                                          <p:spTgt spid="7"/>
                                        </p:tgtEl>
                                        <p:attrNameLst>
                                          <p:attrName>style.visibility</p:attrName>
                                        </p:attrNameLst>
                                      </p:cBhvr>
                                      <p:to>
                                        <p:strVal val="hidden"/>
                                      </p:to>
                                    </p:set>
                                  </p:childTnLst>
                                </p:cTn>
                              </p:par>
                              <p:par>
                                <p:cTn id="65" presetID="1" presetClass="mediacall" presetSubtype="0" fill="hold" nodeType="withEffect">
                                  <p:stCondLst>
                                    <p:cond delay="0"/>
                                  </p:stCondLst>
                                  <p:childTnLst>
                                    <p:cmd type="call" cmd="playFrom(0.0)">
                                      <p:cBhvr>
                                        <p:cTn id="66" dur="164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67" fill="hold" display="0">
                  <p:stCondLst>
                    <p:cond delay="indefinite"/>
                  </p:stCondLst>
                  <p:endCondLst>
                    <p:cond evt="onStopAudio" delay="0">
                      <p:tgtEl>
                        <p:sldTgt/>
                      </p:tgtEl>
                    </p:cond>
                  </p:endCondLst>
                </p:cTn>
                <p:tgtEl>
                  <p:spTgt spid="5"/>
                </p:tgtEl>
              </p:cMediaNode>
            </p:audio>
            <p:audio>
              <p:cMediaNode vol="80000">
                <p:cTn id="68" fill="hold" display="0">
                  <p:stCondLst>
                    <p:cond delay="indefinite"/>
                  </p:stCondLst>
                  <p:endCondLst>
                    <p:cond evt="onStopAudio" delay="0">
                      <p:tgtEl>
                        <p:sldTgt/>
                      </p:tgtEl>
                    </p:cond>
                  </p:endCondLst>
                </p:cTn>
                <p:tgtEl>
                  <p:spTgt spid="8"/>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HAPE_LOCKS" val="959"/>
</p:tagLst>
</file>

<file path=ppt/tags/tag10.xml><?xml version="1.0" encoding="utf-8"?>
<p:tagLst xmlns:a="http://schemas.openxmlformats.org/drawingml/2006/main" xmlns:r="http://schemas.openxmlformats.org/officeDocument/2006/relationships" xmlns:p="http://schemas.openxmlformats.org/presentationml/2006/main">
  <p:tag name="ADJUSTMENTS" val="25.83803"/>
  <p:tag name="SHADOWSIZE" val="100"/>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ADJUSTMENTS" val="25.83803"/>
  <p:tag name="SHADOWSIZE" val="100"/>
</p:tagLst>
</file>

<file path=ppt/tags/tag6.xml><?xml version="1.0" encoding="utf-8"?>
<p:tagLst xmlns:a="http://schemas.openxmlformats.org/drawingml/2006/main" xmlns:r="http://schemas.openxmlformats.org/officeDocument/2006/relationships" xmlns:p="http://schemas.openxmlformats.org/presentationml/2006/main">
  <p:tag name="ADJUSTMENTS" val="25.83803"/>
  <p:tag name="SHADOWSIZE" val="100"/>
</p:tagLst>
</file>

<file path=ppt/tags/tag7.xml><?xml version="1.0" encoding="utf-8"?>
<p:tagLst xmlns:a="http://schemas.openxmlformats.org/drawingml/2006/main" xmlns:r="http://schemas.openxmlformats.org/officeDocument/2006/relationships" xmlns:p="http://schemas.openxmlformats.org/presentationml/2006/main">
  <p:tag name="ADJUSTMENTS" val="25.83803"/>
  <p:tag name="SHADOWSIZE" val="100"/>
</p:tagLst>
</file>

<file path=ppt/tags/tag8.xml><?xml version="1.0" encoding="utf-8"?>
<p:tagLst xmlns:a="http://schemas.openxmlformats.org/drawingml/2006/main" xmlns:r="http://schemas.openxmlformats.org/officeDocument/2006/relationships" xmlns:p="http://schemas.openxmlformats.org/presentationml/2006/main">
  <p:tag name="ADJUSTMENTS" val="25.83803"/>
  <p:tag name="SHADOWSIZE" val="100"/>
</p:tagLst>
</file>

<file path=ppt/tags/tag9.xml><?xml version="1.0" encoding="utf-8"?>
<p:tagLst xmlns:a="http://schemas.openxmlformats.org/drawingml/2006/main" xmlns:r="http://schemas.openxmlformats.org/officeDocument/2006/relationships" xmlns:p="http://schemas.openxmlformats.org/presentationml/2006/main">
  <p:tag name="ADJUSTMENTS" val="25.83803"/>
  <p:tag name="SHADOWSIZE" val="100"/>
</p:tagLst>
</file>

<file path=ppt/theme/theme1.xml><?xml version="1.0" encoding="utf-8"?>
<a:theme xmlns:a="http://schemas.openxmlformats.org/drawingml/2006/main" name="1_Office Theme">
  <a:themeElements>
    <a:clrScheme name="9Slide - 2021">
      <a:dk1>
        <a:sysClr val="windowText" lastClr="000000"/>
      </a:dk1>
      <a:lt1>
        <a:sysClr val="window" lastClr="FFFFFF"/>
      </a:lt1>
      <a:dk2>
        <a:srgbClr val="092D6C"/>
      </a:dk2>
      <a:lt2>
        <a:srgbClr val="FCECD0"/>
      </a:lt2>
      <a:accent1>
        <a:srgbClr val="4FC1E9"/>
      </a:accent1>
      <a:accent2>
        <a:srgbClr val="48CFAD"/>
      </a:accent2>
      <a:accent3>
        <a:srgbClr val="A0D468"/>
      </a:accent3>
      <a:accent4>
        <a:srgbClr val="FFBD45"/>
      </a:accent4>
      <a:accent5>
        <a:srgbClr val="FC6E51"/>
      </a:accent5>
      <a:accent6>
        <a:srgbClr val="ED5565"/>
      </a:accent6>
      <a:hlink>
        <a:srgbClr val="5D9CEC"/>
      </a:hlink>
      <a:folHlink>
        <a:srgbClr val="AC92EC"/>
      </a:folHlink>
    </a:clrScheme>
    <a:fontScheme name="9Slide Fonts">
      <a:majorFont>
        <a:latin typeface="#9Slide02 Tieu de dai"/>
        <a:ea typeface=""/>
        <a:cs typeface=""/>
      </a:majorFont>
      <a:minorFont>
        <a:latin typeface="#9Slide02 Noi dung da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mtClean="0">
            <a:solidFill>
              <a:schemeClr val="tx1">
                <a:lumMod val="50000"/>
                <a:lumOff val="50000"/>
              </a:schemeClr>
            </a:solidFill>
          </a:defRPr>
        </a:defPPr>
      </a:lstStyle>
    </a:txDef>
  </a:objectDefaults>
  <a:extraClrSchemeLst/>
  <a:extLst>
    <a:ext uri="{05A4C25C-085E-4340-85A3-A5531E510DB2}">
      <thm15:themeFamily xmlns:thm15="http://schemas.microsoft.com/office/thememl/2012/main" name="Blank.potx" id="{4C410E64-73D4-4894-A16A-B0A564A2C1B3}" vid="{BD11DD77-7AB8-40E7-98B4-F754939C4E0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9Slide.vn</Template>
  <TotalTime>334</TotalTime>
  <Words>767</Words>
  <Application>Microsoft Office PowerPoint</Application>
  <PresentationFormat>Widescreen</PresentationFormat>
  <Paragraphs>46</Paragraphs>
  <Slides>17</Slides>
  <Notes>0</Notes>
  <HiddenSlides>0</HiddenSlides>
  <MMClips>9</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7</vt:i4>
      </vt:variant>
    </vt:vector>
  </HeadingPairs>
  <TitlesOfParts>
    <vt:vector size="27" baseType="lpstr">
      <vt:lpstr>Arial</vt:lpstr>
      <vt:lpstr>Times New Roman</vt:lpstr>
      <vt:lpstr>Calibri</vt:lpstr>
      <vt:lpstr>思源黑体 CN Normal</vt:lpstr>
      <vt:lpstr>#9Slide02 Noi dung dai</vt:lpstr>
      <vt:lpstr>Aptos</vt:lpstr>
      <vt:lpstr>Cambria</vt:lpstr>
      <vt:lpstr>SVN-Newton</vt:lpstr>
      <vt:lpstr>#9Slide07 Crocant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9Slide.vn</Manager>
  <Company>9Slide.v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9Slide.vn</dc:title>
  <dc:subject>9Slide.vn</dc:subject>
  <dc:creator>ADMIN</dc:creator>
  <cp:keywords>9Slide</cp:keywords>
  <dc:description>9Slide.vn</dc:description>
  <cp:lastModifiedBy>Admin</cp:lastModifiedBy>
  <cp:revision>16</cp:revision>
  <dcterms:created xsi:type="dcterms:W3CDTF">2024-09-05T14:01:44Z</dcterms:created>
  <dcterms:modified xsi:type="dcterms:W3CDTF">2025-05-24T10:36:03Z</dcterms:modified>
  <cp:category>9Slide.vn</cp:category>
  <cp:contentStatus>9Slide</cp:contentStatus>
</cp:coreProperties>
</file>